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5" r:id="rId1"/>
  </p:sldMasterIdLst>
  <p:notesMasterIdLst>
    <p:notesMasterId r:id="rId3"/>
  </p:notesMasterIdLst>
  <p:handoutMasterIdLst>
    <p:handoutMasterId r:id="rId4"/>
  </p:handoutMasterIdLst>
  <p:sldIdLst>
    <p:sldId id="321" r:id="rId2"/>
  </p:sldIdLst>
  <p:sldSz cx="9144000" cy="6858000" type="screen4x3"/>
  <p:notesSz cx="6797675" cy="9926638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  <p15:guide id="3" pos="2693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900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60"/>
  </p:normalViewPr>
  <p:slideViewPr>
    <p:cSldViewPr snapToGrid="0" showGuides="1">
      <p:cViewPr varScale="1">
        <p:scale>
          <a:sx n="110" d="100"/>
          <a:sy n="110" d="100"/>
        </p:scale>
        <p:origin x="1626" y="114"/>
      </p:cViewPr>
      <p:guideLst>
        <p:guide orient="horz" pos="2160"/>
        <p:guide pos="2880"/>
        <p:guide pos="2693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25" d="100"/>
        <a:sy n="125" d="100"/>
      </p:scale>
      <p:origin x="0" y="-9918"/>
    </p:cViewPr>
  </p:sorterViewPr>
  <p:notesViewPr>
    <p:cSldViewPr snapToGrid="0">
      <p:cViewPr>
        <p:scale>
          <a:sx n="125" d="100"/>
          <a:sy n="125" d="100"/>
        </p:scale>
        <p:origin x="-1932" y="2016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dirty="0"/>
              <a:t>Header</a:t>
            </a:r>
            <a:endParaRPr lang="pt-BR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EE4A28-8FCA-4B67-B71F-4BF329E9D0A8}" type="datetimeFigureOut">
              <a:rPr lang="en-GB" smtClean="0"/>
              <a:t>22/06/2020</a:t>
            </a:fld>
            <a:endParaRPr lang="pt-BR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dirty="0"/>
              <a:t>Footer</a:t>
            </a:r>
            <a:endParaRPr lang="pt-BR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D56195-1E08-4783-B4AA-F0F0BB98C858}" type="slidenum">
              <a:rPr lang="en-GB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668775302"/>
      </p:ext>
    </p:extLst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dirty="0"/>
              <a:t>Head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6EF99F-C35D-4FF2-845E-FCCC5818ED60}" type="datetimeFigureOut">
              <a:rPr lang="en-GB" smtClean="0"/>
              <a:t>22/06/2020</a:t>
            </a:fld>
            <a:endParaRPr lang="pt-BR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146175" y="915988"/>
            <a:ext cx="4505325" cy="33797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30891" y="4556490"/>
            <a:ext cx="5935893" cy="462565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dirty="0"/>
              <a:t>Foot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F733B7-1873-49FD-B258-2C7BB301EFB3}" type="slidenum">
              <a:rPr lang="en-GB" smtClean="0"/>
              <a:t>‹#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4089245064"/>
      </p:ext>
    </p:extLst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5.bin"/><Relationship Id="rId4" Type="http://schemas.openxmlformats.org/officeDocument/2006/relationships/image" Target="../media/image4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7" Type="http://schemas.openxmlformats.org/officeDocument/2006/relationships/oleObject" Target="../embeddings/oleObject4.bin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image" Target="../media/image5.pn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bg>
      <p:bgPr>
        <a:gradFill rotWithShape="1">
          <a:gsLst>
            <a:gs pos="0">
              <a:schemeClr val="bg1"/>
            </a:gs>
            <a:gs pos="100000">
              <a:srgbClr val="D9D9D9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83" hidden="1">
            <a:extLst>
              <a:ext uri="{FF2B5EF4-FFF2-40B4-BE49-F238E27FC236}">
                <a16:creationId xmlns:a16="http://schemas.microsoft.com/office/drawing/2014/main" id="{9C59B24C-EB43-46D8-BEEE-EE94525D8B7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1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4" name="Objekt 83" hidden="1">
                        <a:extLst>
                          <a:ext uri="{FF2B5EF4-FFF2-40B4-BE49-F238E27FC236}">
                            <a16:creationId xmlns:a16="http://schemas.microsoft.com/office/drawing/2014/main" id="{9C59B24C-EB43-46D8-BEEE-EE94525D8B7C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82A10C7-D71D-4C11-9CE2-F9B94E8A0ACE}"/>
              </a:ext>
            </a:extLst>
          </p:cNvPr>
          <p:cNvSpPr txBox="1">
            <a:spLocks/>
          </p:cNvSpPr>
          <p:nvPr userDrawn="1"/>
        </p:nvSpPr>
        <p:spPr>
          <a:xfrm>
            <a:off x="657225" y="6551613"/>
            <a:ext cx="5445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b="1" dirty="0">
                <a:solidFill>
                  <a:srgbClr val="E64B00"/>
                </a:solidFill>
              </a:rPr>
              <a:t>sidel.com</a:t>
            </a:r>
          </a:p>
        </p:txBody>
      </p:sp>
      <p:pic>
        <p:nvPicPr>
          <p:cNvPr id="6" name="Picture 13">
            <a:extLst>
              <a:ext uri="{FF2B5EF4-FFF2-40B4-BE49-F238E27FC236}">
                <a16:creationId xmlns:a16="http://schemas.microsoft.com/office/drawing/2014/main" id="{2AB926E4-4BEB-4A3D-A11F-A4A1CC37785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47700" y="599647"/>
            <a:ext cx="8058150" cy="615553"/>
          </a:xfrm>
        </p:spPr>
        <p:txBody>
          <a:bodyPr/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0"/>
          </p:nvPr>
        </p:nvSpPr>
        <p:spPr>
          <a:xfrm>
            <a:off x="647700" y="2156103"/>
            <a:ext cx="6408737" cy="1538883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sz="2000" b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49600168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ictures H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647700" y="1489076"/>
            <a:ext cx="3887788" cy="4495799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4754564" y="1489076"/>
            <a:ext cx="3886200" cy="213994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2"/>
          </p:nvPr>
        </p:nvSpPr>
        <p:spPr>
          <a:xfrm>
            <a:off x="4754564" y="3844925"/>
            <a:ext cx="3886200" cy="2139950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41886676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column text+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647700" y="1489076"/>
            <a:ext cx="3887788" cy="2139949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649288" y="3844925"/>
            <a:ext cx="3886200" cy="213994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/>
          </p:nvPr>
        </p:nvSpPr>
        <p:spPr>
          <a:xfrm>
            <a:off x="4751388" y="1489075"/>
            <a:ext cx="3889375" cy="2139950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/>
          </p:nvPr>
        </p:nvSpPr>
        <p:spPr>
          <a:xfrm>
            <a:off x="4751388" y="3844925"/>
            <a:ext cx="3889375" cy="2139949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37066242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ictures V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647700" y="1489076"/>
            <a:ext cx="5257800" cy="4495799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6124575" y="148907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6124575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/>
          </p:nvPr>
        </p:nvSpPr>
        <p:spPr>
          <a:xfrm>
            <a:off x="6124575" y="3844925"/>
            <a:ext cx="2516188" cy="1803400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5"/>
          </p:nvPr>
        </p:nvSpPr>
        <p:spPr>
          <a:xfrm>
            <a:off x="6124575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4040854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ictures H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647700" y="1489076"/>
            <a:ext cx="3887788" cy="4495799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4751388" y="1489076"/>
            <a:ext cx="3889375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4751388" y="3292475"/>
            <a:ext cx="3889375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/>
          </p:nvPr>
        </p:nvSpPr>
        <p:spPr>
          <a:xfrm>
            <a:off x="4751388" y="3844925"/>
            <a:ext cx="3889375" cy="1803400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5"/>
          </p:nvPr>
        </p:nvSpPr>
        <p:spPr>
          <a:xfrm>
            <a:off x="4751388" y="5648325"/>
            <a:ext cx="3889375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1046681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photos with title +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647700" y="148907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647700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/>
          </p:nvPr>
        </p:nvSpPr>
        <p:spPr>
          <a:xfrm>
            <a:off x="647700" y="3844925"/>
            <a:ext cx="2516188" cy="1803400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5"/>
          </p:nvPr>
        </p:nvSpPr>
        <p:spPr>
          <a:xfrm>
            <a:off x="647700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>
          <a:xfrm>
            <a:off x="3384550" y="1489075"/>
            <a:ext cx="2519363" cy="4495800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5" name="Bildplatzhalter 14"/>
          <p:cNvSpPr>
            <a:spLocks noGrp="1"/>
          </p:cNvSpPr>
          <p:nvPr>
            <p:ph type="pic" sz="quarter" idx="17"/>
          </p:nvPr>
        </p:nvSpPr>
        <p:spPr>
          <a:xfrm>
            <a:off x="6119813" y="1489075"/>
            <a:ext cx="2520950" cy="1803399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7" name="Textplatzhalter 16"/>
          <p:cNvSpPr>
            <a:spLocks noGrp="1"/>
          </p:cNvSpPr>
          <p:nvPr>
            <p:ph type="body" sz="quarter" idx="18"/>
          </p:nvPr>
        </p:nvSpPr>
        <p:spPr>
          <a:xfrm>
            <a:off x="6120341" y="3292474"/>
            <a:ext cx="2520421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Bildplatzhalter 18"/>
          <p:cNvSpPr>
            <a:spLocks noGrp="1"/>
          </p:cNvSpPr>
          <p:nvPr>
            <p:ph type="pic" sz="quarter" idx="19"/>
          </p:nvPr>
        </p:nvSpPr>
        <p:spPr>
          <a:xfrm>
            <a:off x="6124575" y="3844925"/>
            <a:ext cx="2516188" cy="1803400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1" name="Textplatzhalter 20"/>
          <p:cNvSpPr>
            <a:spLocks noGrp="1"/>
          </p:cNvSpPr>
          <p:nvPr>
            <p:ph type="body" sz="quarter" idx="20"/>
          </p:nvPr>
        </p:nvSpPr>
        <p:spPr>
          <a:xfrm>
            <a:off x="6124575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722173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 photos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2019300" y="148907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2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2019300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Bildplatzhalter 10"/>
          <p:cNvSpPr>
            <a:spLocks noGrp="1"/>
          </p:cNvSpPr>
          <p:nvPr>
            <p:ph type="pic" sz="quarter" idx="14"/>
          </p:nvPr>
        </p:nvSpPr>
        <p:spPr>
          <a:xfrm>
            <a:off x="4751388" y="148907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5" name="Textplatzhalter 6"/>
          <p:cNvSpPr>
            <a:spLocks noGrp="1"/>
          </p:cNvSpPr>
          <p:nvPr>
            <p:ph type="body" sz="quarter" idx="15"/>
          </p:nvPr>
        </p:nvSpPr>
        <p:spPr>
          <a:xfrm>
            <a:off x="4751388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Bildplatzhalter 10"/>
          <p:cNvSpPr>
            <a:spLocks noGrp="1"/>
          </p:cNvSpPr>
          <p:nvPr>
            <p:ph type="pic" sz="quarter" idx="16"/>
          </p:nvPr>
        </p:nvSpPr>
        <p:spPr>
          <a:xfrm>
            <a:off x="2019300" y="384492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9" name="Textplatzhalter 6"/>
          <p:cNvSpPr>
            <a:spLocks noGrp="1"/>
          </p:cNvSpPr>
          <p:nvPr>
            <p:ph type="body" sz="quarter" idx="17"/>
          </p:nvPr>
        </p:nvSpPr>
        <p:spPr>
          <a:xfrm>
            <a:off x="2019300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Bildplatzhalter 10"/>
          <p:cNvSpPr>
            <a:spLocks noGrp="1"/>
          </p:cNvSpPr>
          <p:nvPr>
            <p:ph type="pic" sz="quarter" idx="18"/>
          </p:nvPr>
        </p:nvSpPr>
        <p:spPr>
          <a:xfrm>
            <a:off x="4751388" y="384492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1" name="Textplatzhalter 6"/>
          <p:cNvSpPr>
            <a:spLocks noGrp="1"/>
          </p:cNvSpPr>
          <p:nvPr>
            <p:ph type="body" sz="quarter" idx="19"/>
          </p:nvPr>
        </p:nvSpPr>
        <p:spPr>
          <a:xfrm>
            <a:off x="4751388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3354887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 photo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2019300" y="1489076"/>
            <a:ext cx="2516188" cy="213994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3" name="Bildplatzhalter 10"/>
          <p:cNvSpPr>
            <a:spLocks noGrp="1"/>
          </p:cNvSpPr>
          <p:nvPr>
            <p:ph type="pic" sz="quarter" idx="14"/>
          </p:nvPr>
        </p:nvSpPr>
        <p:spPr>
          <a:xfrm>
            <a:off x="4751388" y="1489076"/>
            <a:ext cx="2516188" cy="213994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7" name="Bildplatzhalter 10"/>
          <p:cNvSpPr>
            <a:spLocks noGrp="1"/>
          </p:cNvSpPr>
          <p:nvPr>
            <p:ph type="pic" sz="quarter" idx="16"/>
          </p:nvPr>
        </p:nvSpPr>
        <p:spPr>
          <a:xfrm>
            <a:off x="2019300" y="3844926"/>
            <a:ext cx="2516188" cy="213994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0" name="Bildplatzhalter 10"/>
          <p:cNvSpPr>
            <a:spLocks noGrp="1"/>
          </p:cNvSpPr>
          <p:nvPr>
            <p:ph type="pic" sz="quarter" idx="18"/>
          </p:nvPr>
        </p:nvSpPr>
        <p:spPr>
          <a:xfrm>
            <a:off x="4751388" y="3844926"/>
            <a:ext cx="2516188" cy="213994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31476672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 photos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647701" y="148907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2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647701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Bildplatzhalter 10"/>
          <p:cNvSpPr>
            <a:spLocks noGrp="1"/>
          </p:cNvSpPr>
          <p:nvPr>
            <p:ph type="pic" sz="quarter" idx="16"/>
          </p:nvPr>
        </p:nvSpPr>
        <p:spPr>
          <a:xfrm>
            <a:off x="647701" y="384492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9" name="Textplatzhalter 6"/>
          <p:cNvSpPr>
            <a:spLocks noGrp="1"/>
          </p:cNvSpPr>
          <p:nvPr>
            <p:ph type="body" sz="quarter" idx="17"/>
          </p:nvPr>
        </p:nvSpPr>
        <p:spPr>
          <a:xfrm>
            <a:off x="647701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Bildplatzhalter 10"/>
          <p:cNvSpPr>
            <a:spLocks noGrp="1"/>
          </p:cNvSpPr>
          <p:nvPr>
            <p:ph type="pic" sz="quarter" idx="18"/>
          </p:nvPr>
        </p:nvSpPr>
        <p:spPr>
          <a:xfrm>
            <a:off x="3386138" y="148907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6" name="Textplatzhalter 6"/>
          <p:cNvSpPr>
            <a:spLocks noGrp="1"/>
          </p:cNvSpPr>
          <p:nvPr>
            <p:ph type="body" sz="quarter" idx="19"/>
          </p:nvPr>
        </p:nvSpPr>
        <p:spPr>
          <a:xfrm>
            <a:off x="3386138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Bildplatzhalter 10"/>
          <p:cNvSpPr>
            <a:spLocks noGrp="1"/>
          </p:cNvSpPr>
          <p:nvPr>
            <p:ph type="pic" sz="quarter" idx="20"/>
          </p:nvPr>
        </p:nvSpPr>
        <p:spPr>
          <a:xfrm>
            <a:off x="3386138" y="384492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2" name="Textplatzhalter 6"/>
          <p:cNvSpPr>
            <a:spLocks noGrp="1"/>
          </p:cNvSpPr>
          <p:nvPr>
            <p:ph type="body" sz="quarter" idx="21"/>
          </p:nvPr>
        </p:nvSpPr>
        <p:spPr>
          <a:xfrm>
            <a:off x="3386138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Bildplatzhalter 10"/>
          <p:cNvSpPr>
            <a:spLocks noGrp="1"/>
          </p:cNvSpPr>
          <p:nvPr>
            <p:ph type="pic" sz="quarter" idx="22"/>
          </p:nvPr>
        </p:nvSpPr>
        <p:spPr>
          <a:xfrm>
            <a:off x="6124575" y="148907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4" name="Textplatzhalter 6"/>
          <p:cNvSpPr>
            <a:spLocks noGrp="1"/>
          </p:cNvSpPr>
          <p:nvPr>
            <p:ph type="body" sz="quarter" idx="23"/>
          </p:nvPr>
        </p:nvSpPr>
        <p:spPr>
          <a:xfrm>
            <a:off x="6124575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Bildplatzhalter 10"/>
          <p:cNvSpPr>
            <a:spLocks noGrp="1"/>
          </p:cNvSpPr>
          <p:nvPr>
            <p:ph type="pic" sz="quarter" idx="24"/>
          </p:nvPr>
        </p:nvSpPr>
        <p:spPr>
          <a:xfrm>
            <a:off x="6124575" y="384492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6" name="Textplatzhalter 6"/>
          <p:cNvSpPr>
            <a:spLocks noGrp="1"/>
          </p:cNvSpPr>
          <p:nvPr>
            <p:ph type="body" sz="quarter" idx="25"/>
          </p:nvPr>
        </p:nvSpPr>
        <p:spPr>
          <a:xfrm>
            <a:off x="6124575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9648792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1"/>
          </p:nvPr>
        </p:nvSpPr>
        <p:spPr>
          <a:xfrm>
            <a:off x="647699" y="1484313"/>
            <a:ext cx="2520354" cy="2144712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2"/>
          </p:nvPr>
        </p:nvSpPr>
        <p:spPr>
          <a:xfrm>
            <a:off x="3384055" y="1484313"/>
            <a:ext cx="2520354" cy="2144712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3"/>
          </p:nvPr>
        </p:nvSpPr>
        <p:spPr>
          <a:xfrm>
            <a:off x="6120410" y="1484313"/>
            <a:ext cx="2520354" cy="2144712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4" name="Bildplatzhalter 13"/>
          <p:cNvSpPr>
            <a:spLocks noGrp="1"/>
          </p:cNvSpPr>
          <p:nvPr>
            <p:ph type="pic" sz="quarter" idx="14"/>
          </p:nvPr>
        </p:nvSpPr>
        <p:spPr>
          <a:xfrm>
            <a:off x="647700" y="3844925"/>
            <a:ext cx="2520950" cy="2139950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6" name="Bildplatzhalter 15"/>
          <p:cNvSpPr>
            <a:spLocks noGrp="1"/>
          </p:cNvSpPr>
          <p:nvPr>
            <p:ph type="pic" sz="quarter" idx="15"/>
          </p:nvPr>
        </p:nvSpPr>
        <p:spPr>
          <a:xfrm>
            <a:off x="3384550" y="3844925"/>
            <a:ext cx="2519363" cy="2139950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8" name="Bildplatzhalter 17"/>
          <p:cNvSpPr>
            <a:spLocks noGrp="1"/>
          </p:cNvSpPr>
          <p:nvPr>
            <p:ph type="pic" sz="quarter" idx="16"/>
          </p:nvPr>
        </p:nvSpPr>
        <p:spPr>
          <a:xfrm>
            <a:off x="6119813" y="3844925"/>
            <a:ext cx="2520950" cy="2139950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83965131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reak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1">
            <a:extLst>
              <a:ext uri="{FF2B5EF4-FFF2-40B4-BE49-F238E27FC236}">
                <a16:creationId xmlns:a16="http://schemas.microsoft.com/office/drawing/2014/main" id="{58CC21B4-4357-4C4A-8EB9-63D93134638D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5" name="Object 12" hidden="1">
            <a:extLst>
              <a:ext uri="{FF2B5EF4-FFF2-40B4-BE49-F238E27FC236}">
                <a16:creationId xmlns:a16="http://schemas.microsoft.com/office/drawing/2014/main" id="{E414036E-70A7-46DB-9200-9ED435728FF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9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5" name="Object 12" hidden="1">
                        <a:extLst>
                          <a:ext uri="{FF2B5EF4-FFF2-40B4-BE49-F238E27FC236}">
                            <a16:creationId xmlns:a16="http://schemas.microsoft.com/office/drawing/2014/main" id="{E414036E-70A7-46DB-9200-9ED435728FF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/>
          </p:nvPr>
        </p:nvSpPr>
        <p:spPr bwMode="gray">
          <a:xfrm>
            <a:off x="647699" y="2507780"/>
            <a:ext cx="7993063" cy="1231106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47699" y="3856268"/>
            <a:ext cx="7993063" cy="307777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spcBef>
                <a:spcPct val="0"/>
              </a:spcBef>
              <a:buSzTx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2414777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84" hidden="1">
            <a:extLst>
              <a:ext uri="{FF2B5EF4-FFF2-40B4-BE49-F238E27FC236}">
                <a16:creationId xmlns:a16="http://schemas.microsoft.com/office/drawing/2014/main" id="{6662603A-E5E5-4962-A7E9-98BDF8B03EB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8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3" name="Objekt 84" hidden="1">
                        <a:extLst>
                          <a:ext uri="{FF2B5EF4-FFF2-40B4-BE49-F238E27FC236}">
                            <a16:creationId xmlns:a16="http://schemas.microsoft.com/office/drawing/2014/main" id="{6662603A-E5E5-4962-A7E9-98BDF8B03EBF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CEE6DB0-F588-451A-B056-CBF8C8421A80}"/>
              </a:ext>
            </a:extLst>
          </p:cNvPr>
          <p:cNvSpPr txBox="1">
            <a:spLocks/>
          </p:cNvSpPr>
          <p:nvPr/>
        </p:nvSpPr>
        <p:spPr>
          <a:xfrm>
            <a:off x="1377950" y="6472238"/>
            <a:ext cx="11414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Title, </a:t>
            </a:r>
            <a:fld id="{AF6A7A01-F0BB-4441-BAB9-3E7CB064C4A1}" type="datetime4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22 June 2020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DA5C8E0-CDDA-436A-91F8-C903D03A3F22}"/>
              </a:ext>
            </a:extLst>
          </p:cNvPr>
          <p:cNvSpPr txBox="1">
            <a:spLocks/>
          </p:cNvSpPr>
          <p:nvPr/>
        </p:nvSpPr>
        <p:spPr>
          <a:xfrm>
            <a:off x="647700" y="6472238"/>
            <a:ext cx="4429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Page </a:t>
            </a:r>
            <a:fld id="{60451A36-7B2B-4EF1-857D-3ED175380F69}" type="slidenum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grpSp>
        <p:nvGrpSpPr>
          <p:cNvPr id="6" name="Group 7">
            <a:extLst>
              <a:ext uri="{FF2B5EF4-FFF2-40B4-BE49-F238E27FC236}">
                <a16:creationId xmlns:a16="http://schemas.microsoft.com/office/drawing/2014/main" id="{20BC799A-8D74-4531-A751-1F5C1F946759}"/>
              </a:ext>
            </a:extLst>
          </p:cNvPr>
          <p:cNvGrpSpPr>
            <a:grpSpLocks/>
          </p:cNvGrpSpPr>
          <p:nvPr/>
        </p:nvGrpSpPr>
        <p:grpSpPr bwMode="auto">
          <a:xfrm>
            <a:off x="7723188" y="6499225"/>
            <a:ext cx="920750" cy="252413"/>
            <a:chOff x="1005" y="1644"/>
            <a:chExt cx="3749" cy="1030"/>
          </a:xfrm>
        </p:grpSpPr>
        <p:sp>
          <p:nvSpPr>
            <p:cNvPr id="7" name="Freeform 8">
              <a:extLst>
                <a:ext uri="{FF2B5EF4-FFF2-40B4-BE49-F238E27FC236}">
                  <a16:creationId xmlns:a16="http://schemas.microsoft.com/office/drawing/2014/main" id="{5632B269-EC55-43A6-952B-13604E47FFF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" name="Freeform 9">
              <a:extLst>
                <a:ext uri="{FF2B5EF4-FFF2-40B4-BE49-F238E27FC236}">
                  <a16:creationId xmlns:a16="http://schemas.microsoft.com/office/drawing/2014/main" id="{920F7B84-FBA2-4A84-B9DD-0564F180583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1934767 w 501"/>
                <a:gd name="T1" fmla="*/ 1703806 h 429"/>
                <a:gd name="T2" fmla="*/ 1825400 w 501"/>
                <a:gd name="T3" fmla="*/ 1561728 h 429"/>
                <a:gd name="T4" fmla="*/ 1784956 w 501"/>
                <a:gd name="T5" fmla="*/ 1508168 h 429"/>
                <a:gd name="T6" fmla="*/ 1552016 w 501"/>
                <a:gd name="T7" fmla="*/ 1397956 h 429"/>
                <a:gd name="T8" fmla="*/ 1250403 w 501"/>
                <a:gd name="T9" fmla="*/ 1703806 h 429"/>
                <a:gd name="T10" fmla="*/ 1552016 w 501"/>
                <a:gd name="T11" fmla="*/ 2003033 h 429"/>
                <a:gd name="T12" fmla="*/ 1784956 w 501"/>
                <a:gd name="T13" fmla="*/ 1894733 h 429"/>
                <a:gd name="T14" fmla="*/ 1825400 w 501"/>
                <a:gd name="T15" fmla="*/ 1840358 h 429"/>
                <a:gd name="T16" fmla="*/ 1934767 w 501"/>
                <a:gd name="T17" fmla="*/ 1703806 h 429"/>
                <a:gd name="T18" fmla="*/ 873751 w 501"/>
                <a:gd name="T19" fmla="*/ 1696871 h 429"/>
                <a:gd name="T20" fmla="*/ 1552016 w 501"/>
                <a:gd name="T21" fmla="*/ 1021694 h 429"/>
                <a:gd name="T22" fmla="*/ 2070120 w 501"/>
                <a:gd name="T23" fmla="*/ 1261629 h 429"/>
                <a:gd name="T24" fmla="*/ 2073950 w 501"/>
                <a:gd name="T25" fmla="*/ 1273104 h 429"/>
                <a:gd name="T26" fmla="*/ 2085697 w 501"/>
                <a:gd name="T27" fmla="*/ 1268242 h 429"/>
                <a:gd name="T28" fmla="*/ 1346131 w 501"/>
                <a:gd name="T29" fmla="*/ 0 h 429"/>
                <a:gd name="T30" fmla="*/ 0 w 501"/>
                <a:gd name="T31" fmla="*/ 2335256 h 429"/>
                <a:gd name="T32" fmla="*/ 1314204 w 501"/>
                <a:gd name="T33" fmla="*/ 2335256 h 429"/>
                <a:gd name="T34" fmla="*/ 1321168 w 501"/>
                <a:gd name="T35" fmla="*/ 2330385 h 429"/>
                <a:gd name="T36" fmla="*/ 1184934 w 501"/>
                <a:gd name="T37" fmla="*/ 2271053 h 429"/>
                <a:gd name="T38" fmla="*/ 873751 w 501"/>
                <a:gd name="T39" fmla="*/ 1696871 h 429"/>
                <a:gd name="T40" fmla="*/ 2672288 w 501"/>
                <a:gd name="T41" fmla="*/ 2323362 h 429"/>
                <a:gd name="T42" fmla="*/ 2533115 w 501"/>
                <a:gd name="T43" fmla="*/ 2286253 h 429"/>
                <a:gd name="T44" fmla="*/ 2181053 w 501"/>
                <a:gd name="T45" fmla="*/ 1996110 h 429"/>
                <a:gd name="T46" fmla="*/ 2046871 w 501"/>
                <a:gd name="T47" fmla="*/ 2166797 h 429"/>
                <a:gd name="T48" fmla="*/ 1793853 w 501"/>
                <a:gd name="T49" fmla="*/ 2330385 h 429"/>
                <a:gd name="T50" fmla="*/ 1793853 w 501"/>
                <a:gd name="T51" fmla="*/ 2335256 h 429"/>
                <a:gd name="T52" fmla="*/ 2699308 w 501"/>
                <a:gd name="T53" fmla="*/ 2335256 h 429"/>
                <a:gd name="T54" fmla="*/ 2699308 w 501"/>
                <a:gd name="T55" fmla="*/ 2330385 h 429"/>
                <a:gd name="T56" fmla="*/ 2672288 w 501"/>
                <a:gd name="T57" fmla="*/ 2323362 h 429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9" name="Freeform 10">
              <a:extLst>
                <a:ext uri="{FF2B5EF4-FFF2-40B4-BE49-F238E27FC236}">
                  <a16:creationId xmlns:a16="http://schemas.microsoft.com/office/drawing/2014/main" id="{1BE63E81-0CDD-456E-8361-F2A4B06956F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928091 w 937"/>
                <a:gd name="T1" fmla="*/ 734124 h 326"/>
                <a:gd name="T2" fmla="*/ 422676 w 937"/>
                <a:gd name="T3" fmla="*/ 480648 h 326"/>
                <a:gd name="T4" fmla="*/ 677321 w 937"/>
                <a:gd name="T5" fmla="*/ 285812 h 326"/>
                <a:gd name="T6" fmla="*/ 1007505 w 937"/>
                <a:gd name="T7" fmla="*/ 539654 h 326"/>
                <a:gd name="T8" fmla="*/ 1373115 w 937"/>
                <a:gd name="T9" fmla="*/ 539654 h 326"/>
                <a:gd name="T10" fmla="*/ 693655 w 937"/>
                <a:gd name="T11" fmla="*/ 0 h 326"/>
                <a:gd name="T12" fmla="*/ 64206 w 937"/>
                <a:gd name="T13" fmla="*/ 507687 h 326"/>
                <a:gd name="T14" fmla="*/ 564542 w 937"/>
                <a:gd name="T15" fmla="*/ 988028 h 326"/>
                <a:gd name="T16" fmla="*/ 1067888 w 937"/>
                <a:gd name="T17" fmla="*/ 1265304 h 326"/>
                <a:gd name="T18" fmla="*/ 736541 w 937"/>
                <a:gd name="T19" fmla="*/ 1475204 h 326"/>
                <a:gd name="T20" fmla="*/ 362309 w 937"/>
                <a:gd name="T21" fmla="*/ 1162324 h 326"/>
                <a:gd name="T22" fmla="*/ 4867 w 937"/>
                <a:gd name="T23" fmla="*/ 1162324 h 326"/>
                <a:gd name="T24" fmla="*/ 727759 w 937"/>
                <a:gd name="T25" fmla="*/ 1761880 h 326"/>
                <a:gd name="T26" fmla="*/ 1425329 w 937"/>
                <a:gd name="T27" fmla="*/ 1221359 h 326"/>
                <a:gd name="T28" fmla="*/ 928091 w 937"/>
                <a:gd name="T29" fmla="*/ 734124 h 326"/>
                <a:gd name="T30" fmla="*/ 2934320 w 937"/>
                <a:gd name="T31" fmla="*/ 654942 h 326"/>
                <a:gd name="T32" fmla="*/ 2934320 w 937"/>
                <a:gd name="T33" fmla="*/ 654942 h 326"/>
                <a:gd name="T34" fmla="*/ 2567158 w 937"/>
                <a:gd name="T35" fmla="*/ 468786 h 326"/>
                <a:gd name="T36" fmla="*/ 2029739 w 937"/>
                <a:gd name="T37" fmla="*/ 1102406 h 326"/>
                <a:gd name="T38" fmla="*/ 2575851 w 937"/>
                <a:gd name="T39" fmla="*/ 1757350 h 326"/>
                <a:gd name="T40" fmla="*/ 2945983 w 937"/>
                <a:gd name="T41" fmla="*/ 1567361 h 326"/>
                <a:gd name="T42" fmla="*/ 2950031 w 937"/>
                <a:gd name="T43" fmla="*/ 1567361 h 326"/>
                <a:gd name="T44" fmla="*/ 2950031 w 937"/>
                <a:gd name="T45" fmla="*/ 1723303 h 326"/>
                <a:gd name="T46" fmla="*/ 3271590 w 937"/>
                <a:gd name="T47" fmla="*/ 1723303 h 326"/>
                <a:gd name="T48" fmla="*/ 3271590 w 937"/>
                <a:gd name="T49" fmla="*/ 43392 h 326"/>
                <a:gd name="T50" fmla="*/ 2934320 w 937"/>
                <a:gd name="T51" fmla="*/ 43392 h 326"/>
                <a:gd name="T52" fmla="*/ 2934320 w 937"/>
                <a:gd name="T53" fmla="*/ 654942 h 326"/>
                <a:gd name="T54" fmla="*/ 2658487 w 937"/>
                <a:gd name="T55" fmla="*/ 1503493 h 326"/>
                <a:gd name="T56" fmla="*/ 2364921 w 937"/>
                <a:gd name="T57" fmla="*/ 1113859 h 326"/>
                <a:gd name="T58" fmla="*/ 2658487 w 937"/>
                <a:gd name="T59" fmla="*/ 725437 h 326"/>
                <a:gd name="T60" fmla="*/ 2945983 w 937"/>
                <a:gd name="T61" fmla="*/ 1107255 h 326"/>
                <a:gd name="T62" fmla="*/ 2658487 w 937"/>
                <a:gd name="T63" fmla="*/ 1503493 h 326"/>
                <a:gd name="T64" fmla="*/ 4019608 w 937"/>
                <a:gd name="T65" fmla="*/ 468786 h 326"/>
                <a:gd name="T66" fmla="*/ 3395685 w 937"/>
                <a:gd name="T67" fmla="*/ 1113859 h 326"/>
                <a:gd name="T68" fmla="*/ 4019608 w 937"/>
                <a:gd name="T69" fmla="*/ 1757350 h 326"/>
                <a:gd name="T70" fmla="*/ 4589232 w 937"/>
                <a:gd name="T71" fmla="*/ 1345667 h 326"/>
                <a:gd name="T72" fmla="*/ 4295444 w 937"/>
                <a:gd name="T73" fmla="*/ 1345667 h 326"/>
                <a:gd name="T74" fmla="*/ 4031479 w 937"/>
                <a:gd name="T75" fmla="*/ 1503493 h 326"/>
                <a:gd name="T76" fmla="*/ 3726412 w 937"/>
                <a:gd name="T77" fmla="*/ 1194279 h 326"/>
                <a:gd name="T78" fmla="*/ 4610458 w 937"/>
                <a:gd name="T79" fmla="*/ 1194279 h 326"/>
                <a:gd name="T80" fmla="*/ 4019608 w 937"/>
                <a:gd name="T81" fmla="*/ 468786 h 326"/>
                <a:gd name="T82" fmla="*/ 3726412 w 937"/>
                <a:gd name="T83" fmla="*/ 984353 h 326"/>
                <a:gd name="T84" fmla="*/ 4009013 w 937"/>
                <a:gd name="T85" fmla="*/ 725437 h 326"/>
                <a:gd name="T86" fmla="*/ 4275404 w 937"/>
                <a:gd name="T87" fmla="*/ 984353 h 326"/>
                <a:gd name="T88" fmla="*/ 3726412 w 937"/>
                <a:gd name="T89" fmla="*/ 984353 h 326"/>
                <a:gd name="T90" fmla="*/ 4747390 w 937"/>
                <a:gd name="T91" fmla="*/ 1723303 h 326"/>
                <a:gd name="T92" fmla="*/ 5082576 w 937"/>
                <a:gd name="T93" fmla="*/ 1723303 h 326"/>
                <a:gd name="T94" fmla="*/ 5082576 w 937"/>
                <a:gd name="T95" fmla="*/ 43392 h 326"/>
                <a:gd name="T96" fmla="*/ 4747390 w 937"/>
                <a:gd name="T97" fmla="*/ 43392 h 326"/>
                <a:gd name="T98" fmla="*/ 4747390 w 937"/>
                <a:gd name="T99" fmla="*/ 1723303 h 326"/>
                <a:gd name="T100" fmla="*/ 1551513 w 937"/>
                <a:gd name="T101" fmla="*/ 1723303 h 326"/>
                <a:gd name="T102" fmla="*/ 1886973 w 937"/>
                <a:gd name="T103" fmla="*/ 1723303 h 326"/>
                <a:gd name="T104" fmla="*/ 1886973 w 937"/>
                <a:gd name="T105" fmla="*/ 503549 h 326"/>
                <a:gd name="T106" fmla="*/ 1551513 w 937"/>
                <a:gd name="T107" fmla="*/ 503549 h 326"/>
                <a:gd name="T108" fmla="*/ 1551513 w 937"/>
                <a:gd name="T109" fmla="*/ 1723303 h 326"/>
                <a:gd name="T110" fmla="*/ 1551513 w 937"/>
                <a:gd name="T111" fmla="*/ 317923 h 326"/>
                <a:gd name="T112" fmla="*/ 1886973 w 937"/>
                <a:gd name="T113" fmla="*/ 317923 h 326"/>
                <a:gd name="T114" fmla="*/ 1886973 w 937"/>
                <a:gd name="T115" fmla="*/ 43392 h 326"/>
                <a:gd name="T116" fmla="*/ 1551513 w 937"/>
                <a:gd name="T117" fmla="*/ 43392 h 326"/>
                <a:gd name="T118" fmla="*/ 1551513 w 937"/>
                <a:gd name="T119" fmla="*/ 317923 h 32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84F425AE-0637-4A5C-8AD8-E3594A43B828}"/>
              </a:ext>
            </a:extLst>
          </p:cNvPr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" name="Objekt 82" hidden="1">
            <a:extLst>
              <a:ext uri="{FF2B5EF4-FFF2-40B4-BE49-F238E27FC236}">
                <a16:creationId xmlns:a16="http://schemas.microsoft.com/office/drawing/2014/main" id="{6CB09F99-8107-4563-8E3E-E25C954CA8F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9" name="think-cell Folie" r:id="rId7" imgW="360" imgH="360" progId="TCLayout.ActiveDocument.1">
                  <p:embed/>
                </p:oleObj>
              </mc:Choice>
              <mc:Fallback>
                <p:oleObj name="think-cell Folie" r:id="rId7" imgW="360" imgH="360" progId="TCLayout.ActiveDocument.1">
                  <p:embed/>
                  <p:pic>
                    <p:nvPicPr>
                      <p:cNvPr id="11" name="Objekt 82" hidden="1">
                        <a:extLst>
                          <a:ext uri="{FF2B5EF4-FFF2-40B4-BE49-F238E27FC236}">
                            <a16:creationId xmlns:a16="http://schemas.microsoft.com/office/drawing/2014/main" id="{6CB09F99-8107-4563-8E3E-E25C954CA8F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noProof="1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7250152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1">
            <a:extLst>
              <a:ext uri="{FF2B5EF4-FFF2-40B4-BE49-F238E27FC236}">
                <a16:creationId xmlns:a16="http://schemas.microsoft.com/office/drawing/2014/main" id="{48B6064E-DAF9-4F78-9201-6C88827D9E96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3" name="Objekt 95" hidden="1">
            <a:extLst>
              <a:ext uri="{FF2B5EF4-FFF2-40B4-BE49-F238E27FC236}">
                <a16:creationId xmlns:a16="http://schemas.microsoft.com/office/drawing/2014/main" id="{4D273C6C-C475-42C8-ABFB-284B2C0B04E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3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3" name="Objekt 95" hidden="1">
                        <a:extLst>
                          <a:ext uri="{FF2B5EF4-FFF2-40B4-BE49-F238E27FC236}">
                            <a16:creationId xmlns:a16="http://schemas.microsoft.com/office/drawing/2014/main" id="{4D273C6C-C475-42C8-ABFB-284B2C0B04E3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feld 100">
            <a:extLst>
              <a:ext uri="{FF2B5EF4-FFF2-40B4-BE49-F238E27FC236}">
                <a16:creationId xmlns:a16="http://schemas.microsoft.com/office/drawing/2014/main" id="{61AB32D3-B720-4DC5-B705-6C82C84A9711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3619500" y="2106613"/>
            <a:ext cx="5186363" cy="2282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just" eaLnBrk="1" hangingPunct="1">
              <a:spcBef>
                <a:spcPts val="800"/>
              </a:spcBef>
              <a:defRPr/>
            </a:pPr>
            <a:r>
              <a:rPr lang="en-GB" altLang="fr-FR" sz="900">
                <a:solidFill>
                  <a:srgbClr val="FFFFFF"/>
                </a:solidFill>
              </a:rPr>
              <a:t>                                                             The Sidel Group is formed by the union of two strong brands, 		 Sidel and Gebo Cermex. Together, we are a leading provider of 	                           equipment and services for packaging liquid, food, home and 	                         personal care products in PET, can, glass and other materials.</a:t>
            </a:r>
          </a:p>
          <a:p>
            <a:pPr algn="just" eaLnBrk="1" hangingPunct="1">
              <a:spcBef>
                <a:spcPts val="800"/>
              </a:spcBef>
              <a:defRPr/>
            </a:pPr>
            <a:r>
              <a:rPr lang="en-GB" altLang="fr-FR" sz="900">
                <a:solidFill>
                  <a:srgbClr val="FFFFFF"/>
                </a:solidFill>
              </a:rPr>
              <a:t>                                                  With over 37,000 machines installed in more than 190 countries, we 	                   have nearly 170 years of experience, with a strong focus on  	                advanced systems, line engineering and innovation. Our 5,000+ 	              employees worldwide are passionate about providing complete solutions 	            that fulfil customer needs and boost the </a:t>
            </a:r>
            <a:r>
              <a:rPr lang="en-GB" altLang="fr-FR" sz="900" b="1">
                <a:solidFill>
                  <a:srgbClr val="FFFFFF"/>
                </a:solidFill>
              </a:rPr>
              <a:t>performance</a:t>
            </a:r>
            <a:r>
              <a:rPr lang="en-GB" altLang="fr-FR" sz="900">
                <a:solidFill>
                  <a:srgbClr val="FFFFFF"/>
                </a:solidFill>
              </a:rPr>
              <a:t> of their lines, products	          and businesses. </a:t>
            </a:r>
          </a:p>
          <a:p>
            <a:pPr algn="just" eaLnBrk="1" hangingPunct="1">
              <a:spcBef>
                <a:spcPts val="800"/>
              </a:spcBef>
              <a:defRPr/>
            </a:pPr>
            <a:r>
              <a:rPr lang="en-GB" altLang="fr-FR" sz="900">
                <a:solidFill>
                  <a:srgbClr val="FFFFFF"/>
                </a:solidFill>
              </a:rPr>
              <a:t>	       Delivering this level of performance requires that we continuously </a:t>
            </a:r>
            <a:r>
              <a:rPr lang="en-GB" altLang="fr-FR" sz="900" b="1">
                <a:solidFill>
                  <a:srgbClr val="FFFFFF"/>
                </a:solidFill>
              </a:rPr>
              <a:t>understand</a:t>
            </a:r>
            <a:r>
              <a:rPr lang="en-GB" altLang="fr-FR" sz="900">
                <a:solidFill>
                  <a:srgbClr val="FFFFFF"/>
                </a:solidFill>
              </a:rPr>
              <a:t> 	    our customers’ challenges and commit to meeting their unique goals. We do this	 through dialogue, and by understanding the needs of their markets, production and</a:t>
            </a:r>
            <a:br>
              <a:rPr lang="en-GB" altLang="fr-FR" sz="900">
                <a:solidFill>
                  <a:srgbClr val="FFFFFF"/>
                </a:solidFill>
              </a:rPr>
            </a:br>
            <a:r>
              <a:rPr lang="en-GB" altLang="fr-FR" sz="900">
                <a:solidFill>
                  <a:srgbClr val="FFFFFF"/>
                </a:solidFill>
              </a:rPr>
              <a:t>                           value chains. We complement this by applying our strong technical knowledge and</a:t>
            </a:r>
            <a:br>
              <a:rPr lang="en-GB" altLang="fr-FR" sz="900">
                <a:solidFill>
                  <a:srgbClr val="FFFFFF"/>
                </a:solidFill>
              </a:rPr>
            </a:br>
            <a:r>
              <a:rPr lang="en-GB" altLang="fr-FR" sz="900">
                <a:solidFill>
                  <a:srgbClr val="FFFFFF"/>
                </a:solidFill>
              </a:rPr>
              <a:t>                         smart data analytics to support maximum lifetime productivity to its full potential.</a:t>
            </a:r>
          </a:p>
        </p:txBody>
      </p:sp>
      <p:sp>
        <p:nvSpPr>
          <p:cNvPr id="5" name="Textfeld 110">
            <a:extLst>
              <a:ext uri="{FF2B5EF4-FFF2-40B4-BE49-F238E27FC236}">
                <a16:creationId xmlns:a16="http://schemas.microsoft.com/office/drawing/2014/main" id="{10DA50E8-C7BC-433D-A6BF-6F60B112302E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3619500" y="4548188"/>
            <a:ext cx="5186363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hangingPunct="1">
              <a:spcBef>
                <a:spcPts val="800"/>
              </a:spcBef>
              <a:defRPr/>
            </a:pPr>
            <a:r>
              <a:rPr lang="en-GB" altLang="fr-FR" sz="1000" b="1">
                <a:solidFill>
                  <a:srgbClr val="FFFFFF"/>
                </a:solidFill>
              </a:rPr>
              <a:t>                </a:t>
            </a:r>
            <a:r>
              <a:rPr lang="en-GB" altLang="fr-FR" sz="900">
                <a:solidFill>
                  <a:srgbClr val="FFFFFF"/>
                </a:solidFill>
              </a:rPr>
              <a:t>We call it </a:t>
            </a:r>
            <a:r>
              <a:rPr lang="en-GB" altLang="fr-FR" sz="1000" b="1">
                <a:solidFill>
                  <a:srgbClr val="FFFFFF"/>
                </a:solidFill>
              </a:rPr>
              <a:t>Performance through Understanding.</a:t>
            </a:r>
            <a:endParaRPr lang="en-GB" altLang="fr-FR" b="1">
              <a:solidFill>
                <a:srgbClr val="FFFFFF"/>
              </a:solidFill>
            </a:endParaRPr>
          </a:p>
        </p:txBody>
      </p:sp>
      <p:sp>
        <p:nvSpPr>
          <p:cNvPr id="6" name="Slide Number Placeholder 4">
            <a:extLst>
              <a:ext uri="{FF2B5EF4-FFF2-40B4-BE49-F238E27FC236}">
                <a16:creationId xmlns:a16="http://schemas.microsoft.com/office/drawing/2014/main" id="{98C12912-820C-4F4F-BEA8-F8FDF7C6A82B}"/>
              </a:ext>
            </a:extLst>
          </p:cNvPr>
          <p:cNvSpPr txBox="1">
            <a:spLocks/>
          </p:cNvSpPr>
          <p:nvPr userDrawn="1"/>
        </p:nvSpPr>
        <p:spPr>
          <a:xfrm>
            <a:off x="657225" y="6551613"/>
            <a:ext cx="5445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b="1" dirty="0">
                <a:solidFill>
                  <a:srgbClr val="E64B00"/>
                </a:solidFill>
              </a:rPr>
              <a:t>sidel.com</a:t>
            </a:r>
          </a:p>
        </p:txBody>
      </p:sp>
    </p:spTree>
    <p:extLst>
      <p:ext uri="{BB962C8B-B14F-4D97-AF65-F5344CB8AC3E}">
        <p14:creationId xmlns:p14="http://schemas.microsoft.com/office/powerpoint/2010/main" val="10109304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84" hidden="1">
            <a:extLst>
              <a:ext uri="{FF2B5EF4-FFF2-40B4-BE49-F238E27FC236}">
                <a16:creationId xmlns:a16="http://schemas.microsoft.com/office/drawing/2014/main" id="{48704EED-52D7-483F-A682-D0920044116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7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4" name="Objekt 84" hidden="1">
                        <a:extLst>
                          <a:ext uri="{FF2B5EF4-FFF2-40B4-BE49-F238E27FC236}">
                            <a16:creationId xmlns:a16="http://schemas.microsoft.com/office/drawing/2014/main" id="{48704EED-52D7-483F-A682-D0920044116F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3C771F7E-2490-4E30-BFEE-C46CA516DED6}"/>
              </a:ext>
            </a:extLst>
          </p:cNvPr>
          <p:cNvSpPr txBox="1">
            <a:spLocks/>
          </p:cNvSpPr>
          <p:nvPr/>
        </p:nvSpPr>
        <p:spPr>
          <a:xfrm>
            <a:off x="1377950" y="6472238"/>
            <a:ext cx="23733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 err="1">
                <a:solidFill>
                  <a:srgbClr val="7F7F7F"/>
                </a:solidFill>
              </a:rPr>
              <a:t>Sidel</a:t>
            </a:r>
            <a:r>
              <a:rPr lang="en-GB" dirty="0">
                <a:solidFill>
                  <a:srgbClr val="7F7F7F"/>
                </a:solidFill>
              </a:rPr>
              <a:t> Services: Line Improvement, </a:t>
            </a:r>
            <a:fld id="{AF6A7A01-F0BB-4441-BAB9-3E7CB064C4A1}" type="datetime4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22 June 2020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6" name="Slide Number Placeholder 4">
            <a:extLst>
              <a:ext uri="{FF2B5EF4-FFF2-40B4-BE49-F238E27FC236}">
                <a16:creationId xmlns:a16="http://schemas.microsoft.com/office/drawing/2014/main" id="{21963516-7834-4B15-A3B2-1CD7AC2CE8FE}"/>
              </a:ext>
            </a:extLst>
          </p:cNvPr>
          <p:cNvSpPr txBox="1">
            <a:spLocks/>
          </p:cNvSpPr>
          <p:nvPr/>
        </p:nvSpPr>
        <p:spPr>
          <a:xfrm>
            <a:off x="647700" y="6472238"/>
            <a:ext cx="4429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Page </a:t>
            </a:r>
            <a:fld id="{40C9DE48-EFAC-4355-8D44-F38A47CE3C1F}" type="slidenum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grpSp>
        <p:nvGrpSpPr>
          <p:cNvPr id="7" name="Group 7">
            <a:extLst>
              <a:ext uri="{FF2B5EF4-FFF2-40B4-BE49-F238E27FC236}">
                <a16:creationId xmlns:a16="http://schemas.microsoft.com/office/drawing/2014/main" id="{9C6B3849-CB19-4810-AADE-A14757B12109}"/>
              </a:ext>
            </a:extLst>
          </p:cNvPr>
          <p:cNvGrpSpPr>
            <a:grpSpLocks/>
          </p:cNvGrpSpPr>
          <p:nvPr/>
        </p:nvGrpSpPr>
        <p:grpSpPr bwMode="auto">
          <a:xfrm>
            <a:off x="7723188" y="6499225"/>
            <a:ext cx="920750" cy="252413"/>
            <a:chOff x="1005" y="1644"/>
            <a:chExt cx="3749" cy="1030"/>
          </a:xfrm>
        </p:grpSpPr>
        <p:sp>
          <p:nvSpPr>
            <p:cNvPr id="8" name="Freeform 8">
              <a:extLst>
                <a:ext uri="{FF2B5EF4-FFF2-40B4-BE49-F238E27FC236}">
                  <a16:creationId xmlns:a16="http://schemas.microsoft.com/office/drawing/2014/main" id="{1D217B92-63CB-46C9-9B85-84BF03D4C9F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0" name="Freeform 16">
              <a:extLst>
                <a:ext uri="{FF2B5EF4-FFF2-40B4-BE49-F238E27FC236}">
                  <a16:creationId xmlns:a16="http://schemas.microsoft.com/office/drawing/2014/main" id="{92A88D7E-6700-4C58-88EE-D301A85357E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146956 w 501"/>
                <a:gd name="T1" fmla="*/ 129026 h 429"/>
                <a:gd name="T2" fmla="*/ 138649 w 501"/>
                <a:gd name="T3" fmla="*/ 118267 h 429"/>
                <a:gd name="T4" fmla="*/ 135577 w 501"/>
                <a:gd name="T5" fmla="*/ 114211 h 429"/>
                <a:gd name="T6" fmla="*/ 117884 w 501"/>
                <a:gd name="T7" fmla="*/ 105865 h 429"/>
                <a:gd name="T8" fmla="*/ 94975 w 501"/>
                <a:gd name="T9" fmla="*/ 129026 h 429"/>
                <a:gd name="T10" fmla="*/ 117884 w 501"/>
                <a:gd name="T11" fmla="*/ 151686 h 429"/>
                <a:gd name="T12" fmla="*/ 135577 w 501"/>
                <a:gd name="T13" fmla="*/ 143485 h 429"/>
                <a:gd name="T14" fmla="*/ 138649 w 501"/>
                <a:gd name="T15" fmla="*/ 139367 h 429"/>
                <a:gd name="T16" fmla="*/ 146956 w 501"/>
                <a:gd name="T17" fmla="*/ 129026 h 429"/>
                <a:gd name="T18" fmla="*/ 66366 w 501"/>
                <a:gd name="T19" fmla="*/ 128501 h 429"/>
                <a:gd name="T20" fmla="*/ 117884 w 501"/>
                <a:gd name="T21" fmla="*/ 77371 h 429"/>
                <a:gd name="T22" fmla="*/ 157237 w 501"/>
                <a:gd name="T23" fmla="*/ 95541 h 429"/>
                <a:gd name="T24" fmla="*/ 157528 w 501"/>
                <a:gd name="T25" fmla="*/ 96410 h 429"/>
                <a:gd name="T26" fmla="*/ 158420 w 501"/>
                <a:gd name="T27" fmla="*/ 96042 h 429"/>
                <a:gd name="T28" fmla="*/ 102246 w 501"/>
                <a:gd name="T29" fmla="*/ 0 h 429"/>
                <a:gd name="T30" fmla="*/ 0 w 501"/>
                <a:gd name="T31" fmla="*/ 176845 h 429"/>
                <a:gd name="T32" fmla="*/ 99821 w 501"/>
                <a:gd name="T33" fmla="*/ 176845 h 429"/>
                <a:gd name="T34" fmla="*/ 100350 w 501"/>
                <a:gd name="T35" fmla="*/ 176476 h 429"/>
                <a:gd name="T36" fmla="*/ 90002 w 501"/>
                <a:gd name="T37" fmla="*/ 171983 h 429"/>
                <a:gd name="T38" fmla="*/ 66366 w 501"/>
                <a:gd name="T39" fmla="*/ 128501 h 429"/>
                <a:gd name="T40" fmla="*/ 202975 w 501"/>
                <a:gd name="T41" fmla="*/ 175944 h 429"/>
                <a:gd name="T42" fmla="*/ 192404 w 501"/>
                <a:gd name="T43" fmla="*/ 173134 h 429"/>
                <a:gd name="T44" fmla="*/ 165663 w 501"/>
                <a:gd name="T45" fmla="*/ 151162 h 429"/>
                <a:gd name="T46" fmla="*/ 155471 w 501"/>
                <a:gd name="T47" fmla="*/ 164088 h 429"/>
                <a:gd name="T48" fmla="*/ 136253 w 501"/>
                <a:gd name="T49" fmla="*/ 176476 h 429"/>
                <a:gd name="T50" fmla="*/ 136253 w 501"/>
                <a:gd name="T51" fmla="*/ 176845 h 429"/>
                <a:gd name="T52" fmla="*/ 205027 w 501"/>
                <a:gd name="T53" fmla="*/ 176845 h 429"/>
                <a:gd name="T54" fmla="*/ 205027 w 501"/>
                <a:gd name="T55" fmla="*/ 176476 h 429"/>
                <a:gd name="T56" fmla="*/ 202975 w 501"/>
                <a:gd name="T57" fmla="*/ 175944 h 429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1" name="Freeform 17">
              <a:extLst>
                <a:ext uri="{FF2B5EF4-FFF2-40B4-BE49-F238E27FC236}">
                  <a16:creationId xmlns:a16="http://schemas.microsoft.com/office/drawing/2014/main" id="{3763BD11-036F-4534-B914-C4A35B2C8DF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70352 w 937"/>
                <a:gd name="T1" fmla="*/ 55712 h 326"/>
                <a:gd name="T2" fmla="*/ 32040 w 937"/>
                <a:gd name="T3" fmla="*/ 36476 h 326"/>
                <a:gd name="T4" fmla="*/ 51343 w 937"/>
                <a:gd name="T5" fmla="*/ 21690 h 326"/>
                <a:gd name="T6" fmla="*/ 76372 w 937"/>
                <a:gd name="T7" fmla="*/ 40954 h 326"/>
                <a:gd name="T8" fmla="*/ 104086 w 937"/>
                <a:gd name="T9" fmla="*/ 40954 h 326"/>
                <a:gd name="T10" fmla="*/ 52581 w 937"/>
                <a:gd name="T11" fmla="*/ 0 h 326"/>
                <a:gd name="T12" fmla="*/ 4867 w 937"/>
                <a:gd name="T13" fmla="*/ 38528 h 326"/>
                <a:gd name="T14" fmla="*/ 42794 w 937"/>
                <a:gd name="T15" fmla="*/ 74981 h 326"/>
                <a:gd name="T16" fmla="*/ 80949 w 937"/>
                <a:gd name="T17" fmla="*/ 96023 h 326"/>
                <a:gd name="T18" fmla="*/ 55832 w 937"/>
                <a:gd name="T19" fmla="*/ 111952 h 326"/>
                <a:gd name="T20" fmla="*/ 27464 w 937"/>
                <a:gd name="T21" fmla="*/ 88208 h 326"/>
                <a:gd name="T22" fmla="*/ 369 w 937"/>
                <a:gd name="T23" fmla="*/ 88208 h 326"/>
                <a:gd name="T24" fmla="*/ 55166 w 937"/>
                <a:gd name="T25" fmla="*/ 133708 h 326"/>
                <a:gd name="T26" fmla="*/ 108044 w 937"/>
                <a:gd name="T27" fmla="*/ 92688 h 326"/>
                <a:gd name="T28" fmla="*/ 70352 w 937"/>
                <a:gd name="T29" fmla="*/ 55712 h 326"/>
                <a:gd name="T30" fmla="*/ 222430 w 937"/>
                <a:gd name="T31" fmla="*/ 49703 h 326"/>
                <a:gd name="T32" fmla="*/ 222430 w 937"/>
                <a:gd name="T33" fmla="*/ 49703 h 326"/>
                <a:gd name="T34" fmla="*/ 194598 w 937"/>
                <a:gd name="T35" fmla="*/ 35576 h 326"/>
                <a:gd name="T36" fmla="*/ 153860 w 937"/>
                <a:gd name="T37" fmla="*/ 83661 h 326"/>
                <a:gd name="T38" fmla="*/ 195257 w 937"/>
                <a:gd name="T39" fmla="*/ 133364 h 326"/>
                <a:gd name="T40" fmla="*/ 223314 w 937"/>
                <a:gd name="T41" fmla="*/ 118946 h 326"/>
                <a:gd name="T42" fmla="*/ 223621 w 937"/>
                <a:gd name="T43" fmla="*/ 118946 h 326"/>
                <a:gd name="T44" fmla="*/ 223621 w 937"/>
                <a:gd name="T45" fmla="*/ 130780 h 326"/>
                <a:gd name="T46" fmla="*/ 247996 w 937"/>
                <a:gd name="T47" fmla="*/ 130780 h 326"/>
                <a:gd name="T48" fmla="*/ 247996 w 937"/>
                <a:gd name="T49" fmla="*/ 3293 h 326"/>
                <a:gd name="T50" fmla="*/ 222430 w 937"/>
                <a:gd name="T51" fmla="*/ 3293 h 326"/>
                <a:gd name="T52" fmla="*/ 222430 w 937"/>
                <a:gd name="T53" fmla="*/ 49703 h 326"/>
                <a:gd name="T54" fmla="*/ 201521 w 937"/>
                <a:gd name="T55" fmla="*/ 114099 h 326"/>
                <a:gd name="T56" fmla="*/ 179268 w 937"/>
                <a:gd name="T57" fmla="*/ 84530 h 326"/>
                <a:gd name="T58" fmla="*/ 201521 w 937"/>
                <a:gd name="T59" fmla="*/ 55053 h 326"/>
                <a:gd name="T60" fmla="*/ 223314 w 937"/>
                <a:gd name="T61" fmla="*/ 84029 h 326"/>
                <a:gd name="T62" fmla="*/ 201521 w 937"/>
                <a:gd name="T63" fmla="*/ 114099 h 326"/>
                <a:gd name="T64" fmla="*/ 304698 w 937"/>
                <a:gd name="T65" fmla="*/ 35576 h 326"/>
                <a:gd name="T66" fmla="*/ 257403 w 937"/>
                <a:gd name="T67" fmla="*/ 84530 h 326"/>
                <a:gd name="T68" fmla="*/ 304698 w 937"/>
                <a:gd name="T69" fmla="*/ 133364 h 326"/>
                <a:gd name="T70" fmla="*/ 347877 w 937"/>
                <a:gd name="T71" fmla="*/ 102122 h 326"/>
                <a:gd name="T72" fmla="*/ 325607 w 937"/>
                <a:gd name="T73" fmla="*/ 102122 h 326"/>
                <a:gd name="T74" fmla="*/ 305598 w 937"/>
                <a:gd name="T75" fmla="*/ 114099 h 326"/>
                <a:gd name="T76" fmla="*/ 282473 w 937"/>
                <a:gd name="T77" fmla="*/ 90633 h 326"/>
                <a:gd name="T78" fmla="*/ 349486 w 937"/>
                <a:gd name="T79" fmla="*/ 90633 h 326"/>
                <a:gd name="T80" fmla="*/ 304698 w 937"/>
                <a:gd name="T81" fmla="*/ 35576 h 326"/>
                <a:gd name="T82" fmla="*/ 282473 w 937"/>
                <a:gd name="T83" fmla="*/ 74702 h 326"/>
                <a:gd name="T84" fmla="*/ 303895 w 937"/>
                <a:gd name="T85" fmla="*/ 55053 h 326"/>
                <a:gd name="T86" fmla="*/ 324088 w 937"/>
                <a:gd name="T87" fmla="*/ 74702 h 326"/>
                <a:gd name="T88" fmla="*/ 282473 w 937"/>
                <a:gd name="T89" fmla="*/ 74702 h 326"/>
                <a:gd name="T90" fmla="*/ 359866 w 937"/>
                <a:gd name="T91" fmla="*/ 130780 h 326"/>
                <a:gd name="T92" fmla="*/ 385274 w 937"/>
                <a:gd name="T93" fmla="*/ 130780 h 326"/>
                <a:gd name="T94" fmla="*/ 385274 w 937"/>
                <a:gd name="T95" fmla="*/ 3293 h 326"/>
                <a:gd name="T96" fmla="*/ 359866 w 937"/>
                <a:gd name="T97" fmla="*/ 3293 h 326"/>
                <a:gd name="T98" fmla="*/ 359866 w 937"/>
                <a:gd name="T99" fmla="*/ 130780 h 326"/>
                <a:gd name="T100" fmla="*/ 117609 w 937"/>
                <a:gd name="T101" fmla="*/ 130780 h 326"/>
                <a:gd name="T102" fmla="*/ 143038 w 937"/>
                <a:gd name="T103" fmla="*/ 130780 h 326"/>
                <a:gd name="T104" fmla="*/ 143038 w 937"/>
                <a:gd name="T105" fmla="*/ 38214 h 326"/>
                <a:gd name="T106" fmla="*/ 117609 w 937"/>
                <a:gd name="T107" fmla="*/ 38214 h 326"/>
                <a:gd name="T108" fmla="*/ 117609 w 937"/>
                <a:gd name="T109" fmla="*/ 130780 h 326"/>
                <a:gd name="T110" fmla="*/ 117609 w 937"/>
                <a:gd name="T111" fmla="*/ 24127 h 326"/>
                <a:gd name="T112" fmla="*/ 143038 w 937"/>
                <a:gd name="T113" fmla="*/ 24127 h 326"/>
                <a:gd name="T114" fmla="*/ 143038 w 937"/>
                <a:gd name="T115" fmla="*/ 3293 h 326"/>
                <a:gd name="T116" fmla="*/ 117609 w 937"/>
                <a:gd name="T117" fmla="*/ 3293 h 326"/>
                <a:gd name="T118" fmla="*/ 117609 w 937"/>
                <a:gd name="T119" fmla="*/ 24127 h 32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13A1EC13-EE16-4407-B4EF-554B89E85401}"/>
              </a:ext>
            </a:extLst>
          </p:cNvPr>
          <p:cNvCxnSpPr/>
          <p:nvPr userDrawn="1"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/>
              <a:t>Click to edit Master text styl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72103463"/>
      </p:ext>
    </p:extLst>
  </p:cSld>
  <p:clrMapOvr>
    <a:masterClrMapping/>
  </p:clrMapOvr>
  <p:transition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82" hidden="1">
            <a:extLst>
              <a:ext uri="{FF2B5EF4-FFF2-40B4-BE49-F238E27FC236}">
                <a16:creationId xmlns:a16="http://schemas.microsoft.com/office/drawing/2014/main" id="{A92EE19B-D156-4648-9083-1F2106C13D3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61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3" name="Objekt 82" hidden="1">
                        <a:extLst>
                          <a:ext uri="{FF2B5EF4-FFF2-40B4-BE49-F238E27FC236}">
                            <a16:creationId xmlns:a16="http://schemas.microsoft.com/office/drawing/2014/main" id="{A92EE19B-D156-4648-9083-1F2106C13D33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noProof="1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1267658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10" name="Inhaltsplatzhalter 9"/>
          <p:cNvSpPr>
            <a:spLocks noGrp="1"/>
          </p:cNvSpPr>
          <p:nvPr>
            <p:ph sz="quarter" idx="11"/>
          </p:nvPr>
        </p:nvSpPr>
        <p:spPr>
          <a:xfrm>
            <a:off x="647700" y="1485901"/>
            <a:ext cx="7993063" cy="4498974"/>
          </a:xfrm>
        </p:spPr>
        <p:txBody>
          <a:bodyPr/>
          <a:lstStyle>
            <a:lvl2pPr>
              <a:buClr>
                <a:schemeClr val="accent4"/>
              </a:buClr>
              <a:defRPr/>
            </a:lvl2pPr>
            <a:lvl3pPr>
              <a:buClr>
                <a:schemeClr val="accent4"/>
              </a:buClr>
              <a:defRPr/>
            </a:lvl3pPr>
            <a:lvl4pPr>
              <a:buClr>
                <a:schemeClr val="accent4"/>
              </a:buClr>
              <a:defRPr/>
            </a:lvl4pPr>
            <a:lvl5pPr>
              <a:buClr>
                <a:schemeClr val="accent4"/>
              </a:buClr>
              <a:defRPr/>
            </a:lvl5pPr>
          </a:lstStyle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63835966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Inhaltsplatzhalter 8"/>
          <p:cNvSpPr>
            <a:spLocks noGrp="1"/>
          </p:cNvSpPr>
          <p:nvPr>
            <p:ph sz="quarter" idx="11"/>
          </p:nvPr>
        </p:nvSpPr>
        <p:spPr>
          <a:xfrm>
            <a:off x="647701" y="1485901"/>
            <a:ext cx="7993064" cy="4498974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82150639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647700" y="1489076"/>
            <a:ext cx="5257800" cy="4495799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6124575" y="1489076"/>
            <a:ext cx="2516188" cy="44957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54698318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647700" y="1489076"/>
            <a:ext cx="2516188" cy="44957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2"/>
          </p:nvPr>
        </p:nvSpPr>
        <p:spPr>
          <a:xfrm>
            <a:off x="3379788" y="1489075"/>
            <a:ext cx="5260975" cy="4495800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422331199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647699" y="1489076"/>
            <a:ext cx="7993063" cy="44957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400743536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 siz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647699" y="334800"/>
            <a:ext cx="7993063" cy="5650075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05509192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ictures V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647700" y="1489076"/>
            <a:ext cx="5257800" cy="4495799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6124575" y="1489076"/>
            <a:ext cx="2516188" cy="213994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2"/>
          </p:nvPr>
        </p:nvSpPr>
        <p:spPr>
          <a:xfrm>
            <a:off x="6124575" y="3844925"/>
            <a:ext cx="2516188" cy="2139950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99579151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74" name="Objekt 84" hidden="1">
            <a:extLst>
              <a:ext uri="{FF2B5EF4-FFF2-40B4-BE49-F238E27FC236}">
                <a16:creationId xmlns:a16="http://schemas.microsoft.com/office/drawing/2014/main" id="{B8A9B5B2-5923-4D69-AB90-2ABF7B3567C2}"/>
              </a:ext>
            </a:extLst>
          </p:cNvPr>
          <p:cNvGraphicFramePr>
            <a:graphicFrameLocks noChangeAspect="1"/>
          </p:cNvGraphicFramePr>
          <p:nvPr>
            <p:custDataLst>
              <p:tags r:id="rId26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7" name="think-cell Folie" r:id="rId27" imgW="360" imgH="360" progId="TCLayout.ActiveDocument.1">
                  <p:embed/>
                </p:oleObj>
              </mc:Choice>
              <mc:Fallback>
                <p:oleObj name="think-cell Folie" r:id="rId27" imgW="360" imgH="360" progId="TCLayout.ActiveDocument.1">
                  <p:embed/>
                  <p:pic>
                    <p:nvPicPr>
                      <p:cNvPr id="3074" name="Objekt 84" hidden="1">
                        <a:extLst>
                          <a:ext uri="{FF2B5EF4-FFF2-40B4-BE49-F238E27FC236}">
                            <a16:creationId xmlns:a16="http://schemas.microsoft.com/office/drawing/2014/main" id="{B8A9B5B2-5923-4D69-AB90-2ABF7B3567C2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5" name="Titelplatzhalter 1">
            <a:extLst>
              <a:ext uri="{FF2B5EF4-FFF2-40B4-BE49-F238E27FC236}">
                <a16:creationId xmlns:a16="http://schemas.microsoft.com/office/drawing/2014/main" id="{0220E04D-68E9-4630-A6AC-59890C31C4E6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647700" y="334963"/>
            <a:ext cx="7994650" cy="461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fr-FR" noProof="1"/>
              <a:t>Titelmasterformat durch Klicken bearbeiten</a:t>
            </a:r>
            <a:endParaRPr lang="en-GB" altLang="fr-FR"/>
          </a:p>
        </p:txBody>
      </p:sp>
      <p:sp>
        <p:nvSpPr>
          <p:cNvPr id="3076" name="Textplatzhalter 2">
            <a:extLst>
              <a:ext uri="{FF2B5EF4-FFF2-40B4-BE49-F238E27FC236}">
                <a16:creationId xmlns:a16="http://schemas.microsoft.com/office/drawing/2014/main" id="{ACE36F5B-6D5D-465C-BE53-91F27D8F557F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xfrm>
            <a:off x="647700" y="1485900"/>
            <a:ext cx="7993063" cy="4498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fr-FR" noProof="1"/>
              <a:t>Click to edit text style</a:t>
            </a:r>
          </a:p>
          <a:p>
            <a:pPr lvl="1"/>
            <a:r>
              <a:rPr lang="en-GB" altLang="fr-FR"/>
              <a:t>Second level</a:t>
            </a:r>
          </a:p>
          <a:p>
            <a:pPr lvl="2"/>
            <a:r>
              <a:rPr lang="en-GB" altLang="fr-FR"/>
              <a:t>Third level</a:t>
            </a:r>
          </a:p>
          <a:p>
            <a:pPr lvl="3"/>
            <a:r>
              <a:rPr lang="en-GB" altLang="fr-FR"/>
              <a:t>Forth level</a:t>
            </a:r>
          </a:p>
          <a:p>
            <a:pPr lvl="4"/>
            <a:r>
              <a:rPr lang="en-GB" altLang="fr-FR"/>
              <a:t>Fifth level</a:t>
            </a:r>
          </a:p>
        </p:txBody>
      </p:sp>
      <p:sp>
        <p:nvSpPr>
          <p:cNvPr id="86" name="Footer Placeholder 3">
            <a:extLst>
              <a:ext uri="{FF2B5EF4-FFF2-40B4-BE49-F238E27FC236}">
                <a16:creationId xmlns:a16="http://schemas.microsoft.com/office/drawing/2014/main" id="{49171E63-CC51-4789-BEE3-958295FA299D}"/>
              </a:ext>
            </a:extLst>
          </p:cNvPr>
          <p:cNvSpPr txBox="1">
            <a:spLocks/>
          </p:cNvSpPr>
          <p:nvPr/>
        </p:nvSpPr>
        <p:spPr>
          <a:xfrm>
            <a:off x="1377950" y="6472238"/>
            <a:ext cx="11414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Title, </a:t>
            </a:r>
            <a:fld id="{AF6A7A01-F0BB-4441-BAB9-3E7CB064C4A1}" type="datetime4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22 June 2020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87" name="Slide Number Placeholder 4">
            <a:extLst>
              <a:ext uri="{FF2B5EF4-FFF2-40B4-BE49-F238E27FC236}">
                <a16:creationId xmlns:a16="http://schemas.microsoft.com/office/drawing/2014/main" id="{DCBF4421-BC20-4B06-8993-F5D78731DFBF}"/>
              </a:ext>
            </a:extLst>
          </p:cNvPr>
          <p:cNvSpPr txBox="1">
            <a:spLocks/>
          </p:cNvSpPr>
          <p:nvPr/>
        </p:nvSpPr>
        <p:spPr>
          <a:xfrm>
            <a:off x="647700" y="6472238"/>
            <a:ext cx="4429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Page </a:t>
            </a:r>
            <a:fld id="{F9DF0F4F-4826-4E5C-95BF-C558D9228153}" type="slidenum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grpSp>
        <p:nvGrpSpPr>
          <p:cNvPr id="3079" name="Group 7">
            <a:extLst>
              <a:ext uri="{FF2B5EF4-FFF2-40B4-BE49-F238E27FC236}">
                <a16:creationId xmlns:a16="http://schemas.microsoft.com/office/drawing/2014/main" id="{E1E3A287-ED78-4D1E-A18A-0BE8D3F1EBB9}"/>
              </a:ext>
            </a:extLst>
          </p:cNvPr>
          <p:cNvGrpSpPr>
            <a:grpSpLocks/>
          </p:cNvGrpSpPr>
          <p:nvPr/>
        </p:nvGrpSpPr>
        <p:grpSpPr bwMode="auto">
          <a:xfrm>
            <a:off x="7723188" y="6499225"/>
            <a:ext cx="920750" cy="252413"/>
            <a:chOff x="1005" y="1644"/>
            <a:chExt cx="3749" cy="1030"/>
          </a:xfrm>
        </p:grpSpPr>
        <p:sp>
          <p:nvSpPr>
            <p:cNvPr id="3082" name="Freeform 8">
              <a:extLst>
                <a:ext uri="{FF2B5EF4-FFF2-40B4-BE49-F238E27FC236}">
                  <a16:creationId xmlns:a16="http://schemas.microsoft.com/office/drawing/2014/main" id="{0407AA08-BE11-49DC-A916-452F9D8F638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083" name="Freeform 9">
              <a:extLst>
                <a:ext uri="{FF2B5EF4-FFF2-40B4-BE49-F238E27FC236}">
                  <a16:creationId xmlns:a16="http://schemas.microsoft.com/office/drawing/2014/main" id="{27694F50-8847-46CC-AF63-73280E80F2C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1934767 w 501"/>
                <a:gd name="T1" fmla="*/ 1703806 h 429"/>
                <a:gd name="T2" fmla="*/ 1825400 w 501"/>
                <a:gd name="T3" fmla="*/ 1561728 h 429"/>
                <a:gd name="T4" fmla="*/ 1784956 w 501"/>
                <a:gd name="T5" fmla="*/ 1508168 h 429"/>
                <a:gd name="T6" fmla="*/ 1552016 w 501"/>
                <a:gd name="T7" fmla="*/ 1397956 h 429"/>
                <a:gd name="T8" fmla="*/ 1250403 w 501"/>
                <a:gd name="T9" fmla="*/ 1703806 h 429"/>
                <a:gd name="T10" fmla="*/ 1552016 w 501"/>
                <a:gd name="T11" fmla="*/ 2003033 h 429"/>
                <a:gd name="T12" fmla="*/ 1784956 w 501"/>
                <a:gd name="T13" fmla="*/ 1894733 h 429"/>
                <a:gd name="T14" fmla="*/ 1825400 w 501"/>
                <a:gd name="T15" fmla="*/ 1840358 h 429"/>
                <a:gd name="T16" fmla="*/ 1934767 w 501"/>
                <a:gd name="T17" fmla="*/ 1703806 h 429"/>
                <a:gd name="T18" fmla="*/ 873751 w 501"/>
                <a:gd name="T19" fmla="*/ 1696871 h 429"/>
                <a:gd name="T20" fmla="*/ 1552016 w 501"/>
                <a:gd name="T21" fmla="*/ 1021694 h 429"/>
                <a:gd name="T22" fmla="*/ 2070120 w 501"/>
                <a:gd name="T23" fmla="*/ 1261629 h 429"/>
                <a:gd name="T24" fmla="*/ 2073950 w 501"/>
                <a:gd name="T25" fmla="*/ 1273104 h 429"/>
                <a:gd name="T26" fmla="*/ 2085697 w 501"/>
                <a:gd name="T27" fmla="*/ 1268242 h 429"/>
                <a:gd name="T28" fmla="*/ 1346131 w 501"/>
                <a:gd name="T29" fmla="*/ 0 h 429"/>
                <a:gd name="T30" fmla="*/ 0 w 501"/>
                <a:gd name="T31" fmla="*/ 2335256 h 429"/>
                <a:gd name="T32" fmla="*/ 1314204 w 501"/>
                <a:gd name="T33" fmla="*/ 2335256 h 429"/>
                <a:gd name="T34" fmla="*/ 1321168 w 501"/>
                <a:gd name="T35" fmla="*/ 2330385 h 429"/>
                <a:gd name="T36" fmla="*/ 1184934 w 501"/>
                <a:gd name="T37" fmla="*/ 2271053 h 429"/>
                <a:gd name="T38" fmla="*/ 873751 w 501"/>
                <a:gd name="T39" fmla="*/ 1696871 h 429"/>
                <a:gd name="T40" fmla="*/ 2672288 w 501"/>
                <a:gd name="T41" fmla="*/ 2323362 h 429"/>
                <a:gd name="T42" fmla="*/ 2533115 w 501"/>
                <a:gd name="T43" fmla="*/ 2286253 h 429"/>
                <a:gd name="T44" fmla="*/ 2181053 w 501"/>
                <a:gd name="T45" fmla="*/ 1996110 h 429"/>
                <a:gd name="T46" fmla="*/ 2046871 w 501"/>
                <a:gd name="T47" fmla="*/ 2166797 h 429"/>
                <a:gd name="T48" fmla="*/ 1793853 w 501"/>
                <a:gd name="T49" fmla="*/ 2330385 h 429"/>
                <a:gd name="T50" fmla="*/ 1793853 w 501"/>
                <a:gd name="T51" fmla="*/ 2335256 h 429"/>
                <a:gd name="T52" fmla="*/ 2699308 w 501"/>
                <a:gd name="T53" fmla="*/ 2335256 h 429"/>
                <a:gd name="T54" fmla="*/ 2699308 w 501"/>
                <a:gd name="T55" fmla="*/ 2330385 h 429"/>
                <a:gd name="T56" fmla="*/ 2672288 w 501"/>
                <a:gd name="T57" fmla="*/ 2323362 h 429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084" name="Freeform 10">
              <a:extLst>
                <a:ext uri="{FF2B5EF4-FFF2-40B4-BE49-F238E27FC236}">
                  <a16:creationId xmlns:a16="http://schemas.microsoft.com/office/drawing/2014/main" id="{949AC342-91C7-45CA-A7BE-8C03F49B8DF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928091 w 937"/>
                <a:gd name="T1" fmla="*/ 734124 h 326"/>
                <a:gd name="T2" fmla="*/ 422676 w 937"/>
                <a:gd name="T3" fmla="*/ 480648 h 326"/>
                <a:gd name="T4" fmla="*/ 677321 w 937"/>
                <a:gd name="T5" fmla="*/ 285812 h 326"/>
                <a:gd name="T6" fmla="*/ 1007505 w 937"/>
                <a:gd name="T7" fmla="*/ 539654 h 326"/>
                <a:gd name="T8" fmla="*/ 1373115 w 937"/>
                <a:gd name="T9" fmla="*/ 539654 h 326"/>
                <a:gd name="T10" fmla="*/ 693655 w 937"/>
                <a:gd name="T11" fmla="*/ 0 h 326"/>
                <a:gd name="T12" fmla="*/ 64206 w 937"/>
                <a:gd name="T13" fmla="*/ 507687 h 326"/>
                <a:gd name="T14" fmla="*/ 564542 w 937"/>
                <a:gd name="T15" fmla="*/ 988028 h 326"/>
                <a:gd name="T16" fmla="*/ 1067888 w 937"/>
                <a:gd name="T17" fmla="*/ 1265304 h 326"/>
                <a:gd name="T18" fmla="*/ 736541 w 937"/>
                <a:gd name="T19" fmla="*/ 1475204 h 326"/>
                <a:gd name="T20" fmla="*/ 362309 w 937"/>
                <a:gd name="T21" fmla="*/ 1162324 h 326"/>
                <a:gd name="T22" fmla="*/ 4867 w 937"/>
                <a:gd name="T23" fmla="*/ 1162324 h 326"/>
                <a:gd name="T24" fmla="*/ 727759 w 937"/>
                <a:gd name="T25" fmla="*/ 1761880 h 326"/>
                <a:gd name="T26" fmla="*/ 1425329 w 937"/>
                <a:gd name="T27" fmla="*/ 1221359 h 326"/>
                <a:gd name="T28" fmla="*/ 928091 w 937"/>
                <a:gd name="T29" fmla="*/ 734124 h 326"/>
                <a:gd name="T30" fmla="*/ 2934320 w 937"/>
                <a:gd name="T31" fmla="*/ 654942 h 326"/>
                <a:gd name="T32" fmla="*/ 2934320 w 937"/>
                <a:gd name="T33" fmla="*/ 654942 h 326"/>
                <a:gd name="T34" fmla="*/ 2567158 w 937"/>
                <a:gd name="T35" fmla="*/ 468786 h 326"/>
                <a:gd name="T36" fmla="*/ 2029739 w 937"/>
                <a:gd name="T37" fmla="*/ 1102406 h 326"/>
                <a:gd name="T38" fmla="*/ 2575851 w 937"/>
                <a:gd name="T39" fmla="*/ 1757350 h 326"/>
                <a:gd name="T40" fmla="*/ 2945983 w 937"/>
                <a:gd name="T41" fmla="*/ 1567361 h 326"/>
                <a:gd name="T42" fmla="*/ 2950031 w 937"/>
                <a:gd name="T43" fmla="*/ 1567361 h 326"/>
                <a:gd name="T44" fmla="*/ 2950031 w 937"/>
                <a:gd name="T45" fmla="*/ 1723303 h 326"/>
                <a:gd name="T46" fmla="*/ 3271590 w 937"/>
                <a:gd name="T47" fmla="*/ 1723303 h 326"/>
                <a:gd name="T48" fmla="*/ 3271590 w 937"/>
                <a:gd name="T49" fmla="*/ 43392 h 326"/>
                <a:gd name="T50" fmla="*/ 2934320 w 937"/>
                <a:gd name="T51" fmla="*/ 43392 h 326"/>
                <a:gd name="T52" fmla="*/ 2934320 w 937"/>
                <a:gd name="T53" fmla="*/ 654942 h 326"/>
                <a:gd name="T54" fmla="*/ 2658487 w 937"/>
                <a:gd name="T55" fmla="*/ 1503493 h 326"/>
                <a:gd name="T56" fmla="*/ 2364921 w 937"/>
                <a:gd name="T57" fmla="*/ 1113859 h 326"/>
                <a:gd name="T58" fmla="*/ 2658487 w 937"/>
                <a:gd name="T59" fmla="*/ 725437 h 326"/>
                <a:gd name="T60" fmla="*/ 2945983 w 937"/>
                <a:gd name="T61" fmla="*/ 1107255 h 326"/>
                <a:gd name="T62" fmla="*/ 2658487 w 937"/>
                <a:gd name="T63" fmla="*/ 1503493 h 326"/>
                <a:gd name="T64" fmla="*/ 4019608 w 937"/>
                <a:gd name="T65" fmla="*/ 468786 h 326"/>
                <a:gd name="T66" fmla="*/ 3395685 w 937"/>
                <a:gd name="T67" fmla="*/ 1113859 h 326"/>
                <a:gd name="T68" fmla="*/ 4019608 w 937"/>
                <a:gd name="T69" fmla="*/ 1757350 h 326"/>
                <a:gd name="T70" fmla="*/ 4589232 w 937"/>
                <a:gd name="T71" fmla="*/ 1345667 h 326"/>
                <a:gd name="T72" fmla="*/ 4295444 w 937"/>
                <a:gd name="T73" fmla="*/ 1345667 h 326"/>
                <a:gd name="T74" fmla="*/ 4031479 w 937"/>
                <a:gd name="T75" fmla="*/ 1503493 h 326"/>
                <a:gd name="T76" fmla="*/ 3726412 w 937"/>
                <a:gd name="T77" fmla="*/ 1194279 h 326"/>
                <a:gd name="T78" fmla="*/ 4610458 w 937"/>
                <a:gd name="T79" fmla="*/ 1194279 h 326"/>
                <a:gd name="T80" fmla="*/ 4019608 w 937"/>
                <a:gd name="T81" fmla="*/ 468786 h 326"/>
                <a:gd name="T82" fmla="*/ 3726412 w 937"/>
                <a:gd name="T83" fmla="*/ 984353 h 326"/>
                <a:gd name="T84" fmla="*/ 4009013 w 937"/>
                <a:gd name="T85" fmla="*/ 725437 h 326"/>
                <a:gd name="T86" fmla="*/ 4275404 w 937"/>
                <a:gd name="T87" fmla="*/ 984353 h 326"/>
                <a:gd name="T88" fmla="*/ 3726412 w 937"/>
                <a:gd name="T89" fmla="*/ 984353 h 326"/>
                <a:gd name="T90" fmla="*/ 4747390 w 937"/>
                <a:gd name="T91" fmla="*/ 1723303 h 326"/>
                <a:gd name="T92" fmla="*/ 5082576 w 937"/>
                <a:gd name="T93" fmla="*/ 1723303 h 326"/>
                <a:gd name="T94" fmla="*/ 5082576 w 937"/>
                <a:gd name="T95" fmla="*/ 43392 h 326"/>
                <a:gd name="T96" fmla="*/ 4747390 w 937"/>
                <a:gd name="T97" fmla="*/ 43392 h 326"/>
                <a:gd name="T98" fmla="*/ 4747390 w 937"/>
                <a:gd name="T99" fmla="*/ 1723303 h 326"/>
                <a:gd name="T100" fmla="*/ 1551513 w 937"/>
                <a:gd name="T101" fmla="*/ 1723303 h 326"/>
                <a:gd name="T102" fmla="*/ 1886973 w 937"/>
                <a:gd name="T103" fmla="*/ 1723303 h 326"/>
                <a:gd name="T104" fmla="*/ 1886973 w 937"/>
                <a:gd name="T105" fmla="*/ 503549 h 326"/>
                <a:gd name="T106" fmla="*/ 1551513 w 937"/>
                <a:gd name="T107" fmla="*/ 503549 h 326"/>
                <a:gd name="T108" fmla="*/ 1551513 w 937"/>
                <a:gd name="T109" fmla="*/ 1723303 h 326"/>
                <a:gd name="T110" fmla="*/ 1551513 w 937"/>
                <a:gd name="T111" fmla="*/ 317923 h 326"/>
                <a:gd name="T112" fmla="*/ 1886973 w 937"/>
                <a:gd name="T113" fmla="*/ 317923 h 326"/>
                <a:gd name="T114" fmla="*/ 1886973 w 937"/>
                <a:gd name="T115" fmla="*/ 43392 h 326"/>
                <a:gd name="T116" fmla="*/ 1551513 w 937"/>
                <a:gd name="T117" fmla="*/ 43392 h 326"/>
                <a:gd name="T118" fmla="*/ 1551513 w 937"/>
                <a:gd name="T119" fmla="*/ 317923 h 32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5F24772F-1776-41B6-B35F-9D0063217E83}"/>
              </a:ext>
            </a:extLst>
          </p:cNvPr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MSIPCMContentMarking" descr="{&quot;HashCode&quot;:238713050,&quot;Placement&quot;:&quot;Footer&quot;}">
            <a:extLst>
              <a:ext uri="{FF2B5EF4-FFF2-40B4-BE49-F238E27FC236}">
                <a16:creationId xmlns:a16="http://schemas.microsoft.com/office/drawing/2014/main" id="{3597B022-6A7D-4C02-968D-57FFA0BE5C31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fr-FR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fr-FR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25"/>
    </p:custDataLst>
    <p:extLst>
      <p:ext uri="{BB962C8B-B14F-4D97-AF65-F5344CB8AC3E}">
        <p14:creationId xmlns:p14="http://schemas.microsoft.com/office/powerpoint/2010/main" val="3837985700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78" r:id="rId3"/>
    <p:sldLayoutId id="2147483679" r:id="rId4"/>
    <p:sldLayoutId id="2147483680" r:id="rId5"/>
    <p:sldLayoutId id="2147483681" r:id="rId6"/>
    <p:sldLayoutId id="2147483682" r:id="rId7"/>
    <p:sldLayoutId id="2147483683" r:id="rId8"/>
    <p:sldLayoutId id="2147483684" r:id="rId9"/>
    <p:sldLayoutId id="2147483685" r:id="rId10"/>
    <p:sldLayoutId id="2147483686" r:id="rId11"/>
    <p:sldLayoutId id="2147483687" r:id="rId12"/>
    <p:sldLayoutId id="2147483688" r:id="rId13"/>
    <p:sldLayoutId id="2147483689" r:id="rId14"/>
    <p:sldLayoutId id="2147483690" r:id="rId15"/>
    <p:sldLayoutId id="2147483691" r:id="rId16"/>
    <p:sldLayoutId id="2147483692" r:id="rId17"/>
    <p:sldLayoutId id="2147483693" r:id="rId18"/>
    <p:sldLayoutId id="2147483694" r:id="rId19"/>
    <p:sldLayoutId id="2147483695" r:id="rId20"/>
    <p:sldLayoutId id="2147483696" r:id="rId21"/>
    <p:sldLayoutId id="2147483697" r:id="rId22"/>
  </p:sldLayoutIdLst>
  <p:hf sldNum="0"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000" b="1" kern="1200">
          <a:solidFill>
            <a:srgbClr val="E64B00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9pPr>
    </p:titleStyle>
    <p:bodyStyle>
      <a:lvl1pPr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defRPr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8.jpeg"/><Relationship Id="rId2" Type="http://schemas.openxmlformats.org/officeDocument/2006/relationships/tags" Target="../tags/tag11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9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" name="Group 2"/>
          <p:cNvGrpSpPr>
            <a:grpSpLocks/>
          </p:cNvGrpSpPr>
          <p:nvPr/>
        </p:nvGrpSpPr>
        <p:grpSpPr bwMode="auto">
          <a:xfrm>
            <a:off x="649288" y="1794294"/>
            <a:ext cx="7991475" cy="4017588"/>
            <a:chOff x="650875" y="1906524"/>
            <a:chExt cx="7991475" cy="4042232"/>
          </a:xfrm>
        </p:grpSpPr>
        <p:sp>
          <p:nvSpPr>
            <p:cNvPr id="21" name="Rechteck 3"/>
            <p:cNvSpPr/>
            <p:nvPr/>
          </p:nvSpPr>
          <p:spPr>
            <a:xfrm>
              <a:off x="650875" y="1906524"/>
              <a:ext cx="3889375" cy="388982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rgbClr val="FF6600"/>
                </a:buClr>
                <a:buSzTx/>
                <a:buFontTx/>
                <a:buNone/>
                <a:tabLst/>
                <a:defRPr/>
              </a:pPr>
              <a:r>
                <a:rPr kumimoji="0" lang="en-GB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</a:rPr>
                <a:t>VALOR E VANTAGENS</a:t>
              </a:r>
            </a:p>
          </p:txBody>
        </p:sp>
        <p:sp>
          <p:nvSpPr>
            <p:cNvPr id="22" name="Rechteck 4"/>
            <p:cNvSpPr>
              <a:spLocks/>
            </p:cNvSpPr>
            <p:nvPr/>
          </p:nvSpPr>
          <p:spPr>
            <a:xfrm>
              <a:off x="650875" y="2295507"/>
              <a:ext cx="3889375" cy="365324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342900" marR="0" lvl="0" indent="-342900" algn="l" defTabSz="914400" rtl="0" eaLnBrk="0" fontAlgn="base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E64B00"/>
                </a:buClr>
                <a:buSzTx/>
                <a:buFont typeface="Wingdings" charset="2"/>
                <a:buChar char="§"/>
                <a:tabLst/>
                <a:defRPr/>
              </a:pPr>
              <a:endParaRPr kumimoji="0" lang="en-US" altLang="fr-F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3" name="Rechteck 11"/>
            <p:cNvSpPr/>
            <p:nvPr/>
          </p:nvSpPr>
          <p:spPr>
            <a:xfrm>
              <a:off x="4752975" y="1906524"/>
              <a:ext cx="3889375" cy="388983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marL="190500" marR="0" lvl="0" indent="-190500" algn="l" defTabSz="914400" rtl="0" eaLnBrk="1" fontAlgn="base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rgbClr val="E64B00"/>
                </a:buClr>
                <a:buSzTx/>
                <a:buFontTx/>
                <a:buNone/>
                <a:tabLst/>
                <a:defRPr/>
              </a:pPr>
              <a:r>
                <a:rPr kumimoji="0" lang="de-CH" altLang="de-DE" sz="1400" b="1" i="0" u="none" strike="noStrike" kern="1200" cap="none" spc="0" normalizeH="0" baseline="0" noProof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charset="0"/>
                </a:rPr>
                <a:t>DESCRIÇÃO</a:t>
              </a:r>
              <a:endParaRPr kumimoji="0" lang="pt-BR" alt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24" name="Rechteck 12"/>
            <p:cNvSpPr>
              <a:spLocks/>
            </p:cNvSpPr>
            <p:nvPr/>
          </p:nvSpPr>
          <p:spPr>
            <a:xfrm>
              <a:off x="4752975" y="2295508"/>
              <a:ext cx="3889375" cy="365324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342900" marR="0" lvl="0" indent="-34290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E64B00"/>
                </a:buClr>
                <a:buSzTx/>
                <a:buFont typeface="Wingdings" charset="2"/>
                <a:buChar char="§"/>
                <a:tabLst/>
                <a:defRPr/>
              </a:pPr>
              <a:endPara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宋体" charset="-122"/>
                <a:cs typeface="+mn-cs"/>
              </a:endParaRPr>
            </a:p>
          </p:txBody>
        </p:sp>
      </p:grpSp>
      <p:graphicFrame>
        <p:nvGraphicFramePr>
          <p:cNvPr id="19458" name="Objek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00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19458" name="Objek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476" name="Title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1446550"/>
          </a:xfrm>
        </p:spPr>
        <p:txBody>
          <a:bodyPr/>
          <a:lstStyle/>
          <a:p>
            <a:r>
              <a:rPr lang="pt-BR" sz="3200" dirty="0"/>
              <a:t>Atualizar HMIs desatualizadas com Siemens TP700</a:t>
            </a:r>
            <a:br>
              <a:rPr dirty="0"/>
            </a:br>
            <a:endParaRPr lang="pt-BR" altLang="fr-FR" dirty="0"/>
          </a:p>
        </p:txBody>
      </p:sp>
      <p:sp>
        <p:nvSpPr>
          <p:cNvPr id="19477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46113" y="1486318"/>
            <a:ext cx="7997825" cy="307975"/>
          </a:xfrm>
        </p:spPr>
        <p:txBody>
          <a:bodyPr/>
          <a:lstStyle/>
          <a:p>
            <a:r>
              <a:rPr dirty="0"/>
              <a:t>Novo painel de display</a:t>
            </a:r>
            <a:endParaRPr lang="pt-BR" altLang="fr-FR" dirty="0"/>
          </a:p>
        </p:txBody>
      </p:sp>
      <p:sp>
        <p:nvSpPr>
          <p:cNvPr id="19478" name="Text Placeholder 2"/>
          <p:cNvSpPr txBox="1">
            <a:spLocks/>
          </p:cNvSpPr>
          <p:nvPr/>
        </p:nvSpPr>
        <p:spPr bwMode="auto">
          <a:xfrm>
            <a:off x="647700" y="5901302"/>
            <a:ext cx="7978775" cy="417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ct val="200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82563" indent="-182563">
              <a:spcBef>
                <a:spcPts val="12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357188" indent="-174625">
              <a:buClr>
                <a:srgbClr val="E64B00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539750" indent="-182563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14375" indent="-174625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1715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287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0859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431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n-US" sz="800" kern="0" dirty="0"/>
              <a:t>Valor: Obsolescência</a:t>
            </a:r>
          </a:p>
          <a:p>
            <a:r>
              <a:rPr lang="en-US" sz="800" kern="0" dirty="0"/>
              <a:t>Equipamento: Packing Corcelles</a:t>
            </a:r>
            <a:endParaRPr lang="pt-BR" sz="800" kern="0" dirty="0"/>
          </a:p>
          <a:p>
            <a:r>
              <a:rPr lang="en-US" sz="800" kern="0" dirty="0"/>
              <a:t>Código catálogo: CLC-005</a:t>
            </a:r>
          </a:p>
        </p:txBody>
      </p:sp>
      <p:sp>
        <p:nvSpPr>
          <p:cNvPr id="19479" name="BainBulletsConfiguration" hidden="1"/>
          <p:cNvSpPr txBox="1">
            <a:spLocks noChangeArrowheads="1"/>
          </p:cNvSpPr>
          <p:nvPr/>
        </p:nvSpPr>
        <p:spPr bwMode="auto">
          <a:xfrm>
            <a:off x="12700" y="12700"/>
            <a:ext cx="0" cy="15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en-US" altLang="fr-FR" sz="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47700" y="2259384"/>
            <a:ext cx="3890963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Clr>
                <a:schemeClr val="accent4"/>
              </a:buClr>
            </a:pPr>
            <a:r>
              <a:rPr lang="en-US" sz="1200" b="1" dirty="0"/>
              <a:t>Produtividade</a:t>
            </a:r>
          </a:p>
          <a:p>
            <a:pPr marL="180000" indent="-18000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en-US" sz="1200" dirty="0"/>
              <a:t>Garante a produtividade da máquina.</a:t>
            </a:r>
          </a:p>
          <a:p>
            <a:pPr marL="180000" indent="-180000">
              <a:buClr>
                <a:schemeClr val="accent4"/>
              </a:buClr>
              <a:buFont typeface="Wingdings" panose="05000000000000000000" pitchFamily="2" charset="2"/>
              <a:buChar char="§"/>
            </a:pPr>
            <a:endParaRPr lang="pt-BR" sz="1200" dirty="0"/>
          </a:p>
          <a:p>
            <a:pPr>
              <a:buClr>
                <a:schemeClr val="accent4"/>
              </a:buClr>
            </a:pPr>
            <a:r>
              <a:rPr lang="en-US" sz="1200" b="1" dirty="0"/>
              <a:t>Sempre atualizada</a:t>
            </a:r>
          </a:p>
          <a:p>
            <a:pPr marL="180000" indent="-18000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en-US" sz="1200" dirty="0"/>
              <a:t>Material de última geração e peças de reposição disponíveis.</a:t>
            </a:r>
          </a:p>
          <a:p>
            <a:pPr marL="180000" indent="-18000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en-US" sz="1200" dirty="0"/>
              <a:t>Otimização ergonômica.</a:t>
            </a:r>
          </a:p>
          <a:p>
            <a:pPr marL="180000" indent="-18000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en-US" sz="1200" dirty="0"/>
              <a:t>Novas funções opcionais disponíveis.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F44C1F8-6FC3-4515-B08E-1A90733BAFE7}"/>
              </a:ext>
            </a:extLst>
          </p:cNvPr>
          <p:cNvSpPr/>
          <p:nvPr/>
        </p:nvSpPr>
        <p:spPr>
          <a:xfrm>
            <a:off x="4817276" y="2259383"/>
            <a:ext cx="3823487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Clr>
                <a:schemeClr val="accent4"/>
              </a:buClr>
            </a:pPr>
            <a:r>
              <a:rPr lang="en-US" sz="1200" dirty="0"/>
              <a:t>Substituição e instalação de unidades de última geração, com as mesmas funcionalidades do sistema existente.</a:t>
            </a:r>
          </a:p>
        </p:txBody>
      </p:sp>
      <p:pic>
        <p:nvPicPr>
          <p:cNvPr id="16" name="Picture 19">
            <a:extLst>
              <a:ext uri="{FF2B5EF4-FFF2-40B4-BE49-F238E27FC236}">
                <a16:creationId xmlns:a16="http://schemas.microsoft.com/office/drawing/2014/main" id="{D085F9A7-5CCF-465C-B116-152A426F875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87350" y="4216966"/>
            <a:ext cx="1523334" cy="1529905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5B9BD5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E7E6E6"/>
                  </a:outerShdw>
                </a:effectLst>
              </a14:hiddenEffects>
            </a:ext>
          </a:extLst>
        </p:spPr>
      </p:pic>
      <p:pic>
        <p:nvPicPr>
          <p:cNvPr id="17" name="Picture 25" descr="IMG_1647.">
            <a:extLst>
              <a:ext uri="{FF2B5EF4-FFF2-40B4-BE49-F238E27FC236}">
                <a16:creationId xmlns:a16="http://schemas.microsoft.com/office/drawing/2014/main" id="{AAB9E0F5-8103-4470-BEBA-EE3CC7EE8C3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4790"/>
          <a:stretch>
            <a:fillRect/>
          </a:stretch>
        </p:blipFill>
        <p:spPr bwMode="auto">
          <a:xfrm>
            <a:off x="5031656" y="4216966"/>
            <a:ext cx="1627935" cy="1532496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Rechteck 13">
            <a:extLst>
              <a:ext uri="{FF2B5EF4-FFF2-40B4-BE49-F238E27FC236}">
                <a16:creationId xmlns:a16="http://schemas.microsoft.com/office/drawing/2014/main" id="{E1CCA77F-D1E4-47D1-B633-D8475FD179AE}"/>
              </a:ext>
            </a:extLst>
          </p:cNvPr>
          <p:cNvSpPr/>
          <p:nvPr/>
        </p:nvSpPr>
        <p:spPr bwMode="gray">
          <a:xfrm>
            <a:off x="5512008" y="3934811"/>
            <a:ext cx="667230" cy="199961"/>
          </a:xfrm>
          <a:prstGeom prst="rect">
            <a:avLst/>
          </a:prstGeom>
          <a:solidFill>
            <a:srgbClr val="E64B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buClr>
                <a:srgbClr val="FF6600"/>
              </a:buClr>
            </a:pPr>
            <a:r>
              <a:rPr lang="en-GB" sz="1200" b="1" dirty="0">
                <a:solidFill>
                  <a:srgbClr val="FFFFFF"/>
                </a:solidFill>
              </a:rPr>
              <a:t>Antes</a:t>
            </a:r>
          </a:p>
        </p:txBody>
      </p:sp>
      <p:sp>
        <p:nvSpPr>
          <p:cNvPr id="19" name="Rechteck 13">
            <a:extLst>
              <a:ext uri="{FF2B5EF4-FFF2-40B4-BE49-F238E27FC236}">
                <a16:creationId xmlns:a16="http://schemas.microsoft.com/office/drawing/2014/main" id="{4EA5462B-0910-44FC-8FE0-7C4642E80D4B}"/>
              </a:ext>
            </a:extLst>
          </p:cNvPr>
          <p:cNvSpPr/>
          <p:nvPr/>
        </p:nvSpPr>
        <p:spPr bwMode="gray">
          <a:xfrm>
            <a:off x="7415402" y="3934810"/>
            <a:ext cx="704470" cy="217145"/>
          </a:xfrm>
          <a:prstGeom prst="rect">
            <a:avLst/>
          </a:prstGeom>
          <a:solidFill>
            <a:srgbClr val="E64B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buClr>
                <a:srgbClr val="FF6600"/>
              </a:buClr>
            </a:pPr>
            <a:r>
              <a:rPr lang="en-GB" sz="1200" b="1" dirty="0">
                <a:solidFill>
                  <a:srgbClr val="FFFFFF"/>
                </a:solidFill>
              </a:rPr>
              <a:t>Depois</a:t>
            </a:r>
          </a:p>
        </p:txBody>
      </p:sp>
    </p:spTree>
    <p:extLst>
      <p:ext uri="{BB962C8B-B14F-4D97-AF65-F5344CB8AC3E}">
        <p14:creationId xmlns:p14="http://schemas.microsoft.com/office/powerpoint/2010/main" val="340796315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ARTICULATE_SLIDE_COUNT" val="50"/>
  <p:tag name="ARTICULATE_PROJECT_OPEN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NewSidel_Template_4x3_with add layouts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NewSidel_Template_4x3_v10_FINAL.potx" id="{6B388DF2-1B4D-4AB9-B9B5-FAFCF51DED0E}" vid="{83DBA8D9-CEC6-4E0F-89EE-7CD510D47F2C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NewGeboCermex_PPT_template_long</Template>
  <TotalTime>1</TotalTime>
  <Words>71</Words>
  <Application>Microsoft Office PowerPoint</Application>
  <PresentationFormat>On-screen Show (4:3)</PresentationFormat>
  <Paragraphs>17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MS PGothic</vt:lpstr>
      <vt:lpstr>宋体</vt:lpstr>
      <vt:lpstr>Arial</vt:lpstr>
      <vt:lpstr>Wingdings</vt:lpstr>
      <vt:lpstr>NewSidel_Template_4x3_with add layouts</vt:lpstr>
      <vt:lpstr>think-cell Folie</vt:lpstr>
      <vt:lpstr>Atualizar HMIs desatualizadas com Siemens TP700 </vt:lpstr>
    </vt:vector>
  </TitlesOfParts>
  <Company>GeboCermex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Lightweight funnel</dc:title>
  <dc:creator>Claudio POMO</dc:creator>
  <cp:lastModifiedBy>Sorega, Dan</cp:lastModifiedBy>
  <cp:revision>18</cp:revision>
  <cp:lastPrinted>2018-03-12T16:26:21Z</cp:lastPrinted>
  <dcterms:created xsi:type="dcterms:W3CDTF">2018-01-25T16:00:18Z</dcterms:created>
  <dcterms:modified xsi:type="dcterms:W3CDTF">2020-06-22T14:29:4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94480757-a570-4f64-84e7-c5b3ffe9d573_Enabled">
    <vt:lpwstr>True</vt:lpwstr>
  </property>
  <property fmtid="{D5CDD505-2E9C-101B-9397-08002B2CF9AE}" pid="5" name="MSIP_Label_94480757-a570-4f64-84e7-c5b3ffe9d573_SiteId">
    <vt:lpwstr>2390cbd1-e663-4321-bc93-ba298637ce52</vt:lpwstr>
  </property>
  <property fmtid="{D5CDD505-2E9C-101B-9397-08002B2CF9AE}" pid="6" name="MSIP_Label_94480757-a570-4f64-84e7-c5b3ffe9d573_Owner">
    <vt:lpwstr>107200@sidel.com</vt:lpwstr>
  </property>
  <property fmtid="{D5CDD505-2E9C-101B-9397-08002B2CF9AE}" pid="7" name="MSIP_Label_94480757-a570-4f64-84e7-c5b3ffe9d573_SetDate">
    <vt:lpwstr>2020-06-22T14:29:43.3463008Z</vt:lpwstr>
  </property>
  <property fmtid="{D5CDD505-2E9C-101B-9397-08002B2CF9AE}" pid="8" name="MSIP_Label_94480757-a570-4f64-84e7-c5b3ffe9d573_Name">
    <vt:lpwstr>General</vt:lpwstr>
  </property>
  <property fmtid="{D5CDD505-2E9C-101B-9397-08002B2CF9AE}" pid="9" name="MSIP_Label_94480757-a570-4f64-84e7-c5b3ffe9d573_Application">
    <vt:lpwstr>Microsoft Azure Information Protection</vt:lpwstr>
  </property>
  <property fmtid="{D5CDD505-2E9C-101B-9397-08002B2CF9AE}" pid="10" name="MSIP_Label_94480757-a570-4f64-84e7-c5b3ffe9d573_Extended_MSFT_Method">
    <vt:lpwstr>Automatic</vt:lpwstr>
  </property>
  <property fmtid="{D5CDD505-2E9C-101B-9397-08002B2CF9AE}" pid="11" name="MSIP_Label_e35bb0a3-90cf-41a8-939e-500b35438edf_Enabled">
    <vt:lpwstr>True</vt:lpwstr>
  </property>
  <property fmtid="{D5CDD505-2E9C-101B-9397-08002B2CF9AE}" pid="12" name="MSIP_Label_e35bb0a3-90cf-41a8-939e-500b35438edf_SiteId">
    <vt:lpwstr>2390cbd1-e663-4321-bc93-ba298637ce52</vt:lpwstr>
  </property>
  <property fmtid="{D5CDD505-2E9C-101B-9397-08002B2CF9AE}" pid="13" name="MSIP_Label_e35bb0a3-90cf-41a8-939e-500b35438edf_Owner">
    <vt:lpwstr>107200@sidel.com</vt:lpwstr>
  </property>
  <property fmtid="{D5CDD505-2E9C-101B-9397-08002B2CF9AE}" pid="14" name="MSIP_Label_e35bb0a3-90cf-41a8-939e-500b35438edf_SetDate">
    <vt:lpwstr>2018-03-22T17:11:26.8219868+01:00</vt:lpwstr>
  </property>
  <property fmtid="{D5CDD505-2E9C-101B-9397-08002B2CF9AE}" pid="15" name="MSIP_Label_e35bb0a3-90cf-41a8-939e-500b35438edf_Name">
    <vt:lpwstr>Sidel-Confidential</vt:lpwstr>
  </property>
  <property fmtid="{D5CDD505-2E9C-101B-9397-08002B2CF9AE}" pid="16" name="MSIP_Label_e35bb0a3-90cf-41a8-939e-500b35438edf_Application">
    <vt:lpwstr>Microsoft Azure Information Protection</vt:lpwstr>
  </property>
  <property fmtid="{D5CDD505-2E9C-101B-9397-08002B2CF9AE}" pid="17" name="MSIP_Label_e35bb0a3-90cf-41a8-939e-500b35438edf_Extended_MSFT_Method">
    <vt:lpwstr>Automatic</vt:lpwstr>
  </property>
  <property fmtid="{D5CDD505-2E9C-101B-9397-08002B2CF9AE}" pid="18" name="MSIP_Label_06263584-a2fa-494a-b6ac-a3eeadb86bd0_Enabled">
    <vt:lpwstr>True</vt:lpwstr>
  </property>
  <property fmtid="{D5CDD505-2E9C-101B-9397-08002B2CF9AE}" pid="19" name="MSIP_Label_06263584-a2fa-494a-b6ac-a3eeadb86bd0_SiteId">
    <vt:lpwstr>2390cbd1-e663-4321-bc93-ba298637ce52</vt:lpwstr>
  </property>
  <property fmtid="{D5CDD505-2E9C-101B-9397-08002B2CF9AE}" pid="20" name="MSIP_Label_06263584-a2fa-494a-b6ac-a3eeadb86bd0_Owner">
    <vt:lpwstr>107200@sidel.com</vt:lpwstr>
  </property>
  <property fmtid="{D5CDD505-2E9C-101B-9397-08002B2CF9AE}" pid="21" name="MSIP_Label_06263584-a2fa-494a-b6ac-a3eeadb86bd0_SetDate">
    <vt:lpwstr>2018-03-22T17:11:26.8219868+01:00</vt:lpwstr>
  </property>
  <property fmtid="{D5CDD505-2E9C-101B-9397-08002B2CF9AE}" pid="22" name="MSIP_Label_06263584-a2fa-494a-b6ac-a3eeadb86bd0_Name">
    <vt:lpwstr>Internal</vt:lpwstr>
  </property>
  <property fmtid="{D5CDD505-2E9C-101B-9397-08002B2CF9AE}" pid="23" name="MSIP_Label_06263584-a2fa-494a-b6ac-a3eeadb86bd0_Application">
    <vt:lpwstr>Microsoft Azure Information Protection</vt:lpwstr>
  </property>
  <property fmtid="{D5CDD505-2E9C-101B-9397-08002B2CF9AE}" pid="24" name="MSIP_Label_06263584-a2fa-494a-b6ac-a3eeadb86bd0_Extended_MSFT_Method">
    <vt:lpwstr>Automatic</vt:lpwstr>
  </property>
  <property fmtid="{D5CDD505-2E9C-101B-9397-08002B2CF9AE}" pid="25" name="Sensitivity">
    <vt:lpwstr>General Sidel-Confidential Internal</vt:lpwstr>
  </property>
</Properties>
</file>